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3"/>
  </p:notesMasterIdLst>
  <p:handoutMasterIdLst>
    <p:handoutMasterId r:id="rId14"/>
  </p:handoutMasterIdLst>
  <p:sldIdLst>
    <p:sldId id="2146846137" r:id="rId5"/>
    <p:sldId id="2146846139" r:id="rId6"/>
    <p:sldId id="2146846140" r:id="rId7"/>
    <p:sldId id="2146846141" r:id="rId8"/>
    <p:sldId id="2146846142" r:id="rId9"/>
    <p:sldId id="2146846143" r:id="rId10"/>
    <p:sldId id="2146846144" r:id="rId11"/>
    <p:sldId id="2146846138" r:id="rId12"/>
  </p:sldIdLst>
  <p:sldSz cx="12192000" cy="6858000"/>
  <p:notesSz cx="6858000" cy="9144000"/>
  <p:custDataLst>
    <p:tags r:id="rId15"/>
  </p:custDataLst>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97FF0"/>
    <a:srgbClr val="CEF4F3"/>
    <a:srgbClr val="EA3A55"/>
    <a:srgbClr val="3D108A"/>
    <a:srgbClr val="000000"/>
    <a:srgbClr val="7F7F7F"/>
    <a:srgbClr val="2E2E38"/>
    <a:srgbClr val="AA1228"/>
    <a:srgbClr val="F4736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32B921-09B0-4CFF-ADB7-DCB7688822F3}" v="2" dt="2022-05-06T14:40:25.6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17" autoAdjust="0"/>
    <p:restoredTop sz="94660"/>
  </p:normalViewPr>
  <p:slideViewPr>
    <p:cSldViewPr snapToGrid="0">
      <p:cViewPr varScale="1">
        <p:scale>
          <a:sx n="75" d="100"/>
          <a:sy n="75" d="100"/>
        </p:scale>
        <p:origin x="436" y="5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erine Schifino" userId="37bb67de-9fcf-4611-888c-7e5b58184a2a" providerId="ADAL" clId="{0D32B921-09B0-4CFF-ADB7-DCB7688822F3}"/>
    <pc:docChg chg="addSld delSld modSld">
      <pc:chgData name="Katerine Schifino" userId="37bb67de-9fcf-4611-888c-7e5b58184a2a" providerId="ADAL" clId="{0D32B921-09B0-4CFF-ADB7-DCB7688822F3}" dt="2022-05-06T14:40:06.819" v="123" actId="6549"/>
      <pc:docMkLst>
        <pc:docMk/>
      </pc:docMkLst>
      <pc:sldChg chg="del">
        <pc:chgData name="Katerine Schifino" userId="37bb67de-9fcf-4611-888c-7e5b58184a2a" providerId="ADAL" clId="{0D32B921-09B0-4CFF-ADB7-DCB7688822F3}" dt="2022-05-06T14:36:25.351" v="1" actId="47"/>
        <pc:sldMkLst>
          <pc:docMk/>
          <pc:sldMk cId="414287340" sldId="2080108159"/>
        </pc:sldMkLst>
      </pc:sldChg>
      <pc:sldChg chg="del">
        <pc:chgData name="Katerine Schifino" userId="37bb67de-9fcf-4611-888c-7e5b58184a2a" providerId="ADAL" clId="{0D32B921-09B0-4CFF-ADB7-DCB7688822F3}" dt="2022-05-06T14:36:25.933" v="2" actId="47"/>
        <pc:sldMkLst>
          <pc:docMk/>
          <pc:sldMk cId="3255250376" sldId="2080108160"/>
        </pc:sldMkLst>
      </pc:sldChg>
      <pc:sldChg chg="del">
        <pc:chgData name="Katerine Schifino" userId="37bb67de-9fcf-4611-888c-7e5b58184a2a" providerId="ADAL" clId="{0D32B921-09B0-4CFF-ADB7-DCB7688822F3}" dt="2022-05-06T14:36:26.093" v="3" actId="47"/>
        <pc:sldMkLst>
          <pc:docMk/>
          <pc:sldMk cId="32849443" sldId="2080108162"/>
        </pc:sldMkLst>
      </pc:sldChg>
      <pc:sldChg chg="del">
        <pc:chgData name="Katerine Schifino" userId="37bb67de-9fcf-4611-888c-7e5b58184a2a" providerId="ADAL" clId="{0D32B921-09B0-4CFF-ADB7-DCB7688822F3}" dt="2022-05-06T14:36:26.704" v="4" actId="47"/>
        <pc:sldMkLst>
          <pc:docMk/>
          <pc:sldMk cId="2760201055" sldId="2080108163"/>
        </pc:sldMkLst>
      </pc:sldChg>
      <pc:sldChg chg="del">
        <pc:chgData name="Katerine Schifino" userId="37bb67de-9fcf-4611-888c-7e5b58184a2a" providerId="ADAL" clId="{0D32B921-09B0-4CFF-ADB7-DCB7688822F3}" dt="2022-05-06T14:36:26.960" v="5" actId="47"/>
        <pc:sldMkLst>
          <pc:docMk/>
          <pc:sldMk cId="2732018590" sldId="2080108165"/>
        </pc:sldMkLst>
      </pc:sldChg>
      <pc:sldChg chg="del">
        <pc:chgData name="Katerine Schifino" userId="37bb67de-9fcf-4611-888c-7e5b58184a2a" providerId="ADAL" clId="{0D32B921-09B0-4CFF-ADB7-DCB7688822F3}" dt="2022-05-06T14:36:28.368" v="6" actId="47"/>
        <pc:sldMkLst>
          <pc:docMk/>
          <pc:sldMk cId="3381833991" sldId="2080108167"/>
        </pc:sldMkLst>
      </pc:sldChg>
      <pc:sldChg chg="modSp mod">
        <pc:chgData name="Katerine Schifino" userId="37bb67de-9fcf-4611-888c-7e5b58184a2a" providerId="ADAL" clId="{0D32B921-09B0-4CFF-ADB7-DCB7688822F3}" dt="2022-05-06T14:39:01.164" v="102" actId="20577"/>
        <pc:sldMkLst>
          <pc:docMk/>
          <pc:sldMk cId="3576568090" sldId="2146846137"/>
        </pc:sldMkLst>
        <pc:spChg chg="mod">
          <ac:chgData name="Katerine Schifino" userId="37bb67de-9fcf-4611-888c-7e5b58184a2a" providerId="ADAL" clId="{0D32B921-09B0-4CFF-ADB7-DCB7688822F3}" dt="2022-05-06T14:36:41.372" v="11" actId="20577"/>
          <ac:spMkLst>
            <pc:docMk/>
            <pc:sldMk cId="3576568090" sldId="2146846137"/>
            <ac:spMk id="6" creationId="{C3E24BFF-A0DB-4ECE-96D3-5EAB937B7323}"/>
          </ac:spMkLst>
        </pc:spChg>
        <pc:spChg chg="mod">
          <ac:chgData name="Katerine Schifino" userId="37bb67de-9fcf-4611-888c-7e5b58184a2a" providerId="ADAL" clId="{0D32B921-09B0-4CFF-ADB7-DCB7688822F3}" dt="2022-05-06T14:39:01.164" v="102" actId="20577"/>
          <ac:spMkLst>
            <pc:docMk/>
            <pc:sldMk cId="3576568090" sldId="2146846137"/>
            <ac:spMk id="8" creationId="{F3692B0D-82AC-41A6-A5BD-1A4B9AC9B985}"/>
          </ac:spMkLst>
        </pc:spChg>
      </pc:sldChg>
      <pc:sldChg chg="modSp mod">
        <pc:chgData name="Katerine Schifino" userId="37bb67de-9fcf-4611-888c-7e5b58184a2a" providerId="ADAL" clId="{0D32B921-09B0-4CFF-ADB7-DCB7688822F3}" dt="2022-05-06T14:40:06.819" v="123" actId="6549"/>
        <pc:sldMkLst>
          <pc:docMk/>
          <pc:sldMk cId="429413671" sldId="2146846138"/>
        </pc:sldMkLst>
        <pc:spChg chg="mod">
          <ac:chgData name="Katerine Schifino" userId="37bb67de-9fcf-4611-888c-7e5b58184a2a" providerId="ADAL" clId="{0D32B921-09B0-4CFF-ADB7-DCB7688822F3}" dt="2022-05-06T14:39:06.384" v="103"/>
          <ac:spMkLst>
            <pc:docMk/>
            <pc:sldMk cId="429413671" sldId="2146846138"/>
            <ac:spMk id="6" creationId="{C3E24BFF-A0DB-4ECE-96D3-5EAB937B7323}"/>
          </ac:spMkLst>
        </pc:spChg>
        <pc:spChg chg="mod">
          <ac:chgData name="Katerine Schifino" userId="37bb67de-9fcf-4611-888c-7e5b58184a2a" providerId="ADAL" clId="{0D32B921-09B0-4CFF-ADB7-DCB7688822F3}" dt="2022-05-06T14:40:06.819" v="123" actId="6549"/>
          <ac:spMkLst>
            <pc:docMk/>
            <pc:sldMk cId="429413671" sldId="2146846138"/>
            <ac:spMk id="8" creationId="{F3692B0D-82AC-41A6-A5BD-1A4B9AC9B985}"/>
          </ac:spMkLst>
        </pc:spChg>
      </pc:sldChg>
      <pc:sldChg chg="add">
        <pc:chgData name="Katerine Schifino" userId="37bb67de-9fcf-4611-888c-7e5b58184a2a" providerId="ADAL" clId="{0D32B921-09B0-4CFF-ADB7-DCB7688822F3}" dt="2022-05-06T14:36:21.451" v="0"/>
        <pc:sldMkLst>
          <pc:docMk/>
          <pc:sldMk cId="3248797786" sldId="2146846139"/>
        </pc:sldMkLst>
      </pc:sldChg>
      <pc:sldChg chg="add">
        <pc:chgData name="Katerine Schifino" userId="37bb67de-9fcf-4611-888c-7e5b58184a2a" providerId="ADAL" clId="{0D32B921-09B0-4CFF-ADB7-DCB7688822F3}" dt="2022-05-06T14:36:21.451" v="0"/>
        <pc:sldMkLst>
          <pc:docMk/>
          <pc:sldMk cId="2261778385" sldId="2146846140"/>
        </pc:sldMkLst>
      </pc:sldChg>
      <pc:sldChg chg="add">
        <pc:chgData name="Katerine Schifino" userId="37bb67de-9fcf-4611-888c-7e5b58184a2a" providerId="ADAL" clId="{0D32B921-09B0-4CFF-ADB7-DCB7688822F3}" dt="2022-05-06T14:36:21.451" v="0"/>
        <pc:sldMkLst>
          <pc:docMk/>
          <pc:sldMk cId="3205733083" sldId="2146846141"/>
        </pc:sldMkLst>
      </pc:sldChg>
      <pc:sldChg chg="add">
        <pc:chgData name="Katerine Schifino" userId="37bb67de-9fcf-4611-888c-7e5b58184a2a" providerId="ADAL" clId="{0D32B921-09B0-4CFF-ADB7-DCB7688822F3}" dt="2022-05-06T14:36:21.451" v="0"/>
        <pc:sldMkLst>
          <pc:docMk/>
          <pc:sldMk cId="1849260737" sldId="2146846142"/>
        </pc:sldMkLst>
      </pc:sldChg>
      <pc:sldChg chg="add">
        <pc:chgData name="Katerine Schifino" userId="37bb67de-9fcf-4611-888c-7e5b58184a2a" providerId="ADAL" clId="{0D32B921-09B0-4CFF-ADB7-DCB7688822F3}" dt="2022-05-06T14:36:21.451" v="0"/>
        <pc:sldMkLst>
          <pc:docMk/>
          <pc:sldMk cId="3537302609" sldId="2146846143"/>
        </pc:sldMkLst>
      </pc:sldChg>
      <pc:sldChg chg="add">
        <pc:chgData name="Katerine Schifino" userId="37bb67de-9fcf-4611-888c-7e5b58184a2a" providerId="ADAL" clId="{0D32B921-09B0-4CFF-ADB7-DCB7688822F3}" dt="2022-05-06T14:36:21.451" v="0"/>
        <pc:sldMkLst>
          <pc:docMk/>
          <pc:sldMk cId="3845562853" sldId="2146846144"/>
        </pc:sldMkLst>
      </pc:sldChg>
    </pc:docChg>
  </pc:docChgLst>
  <pc:docChgLst>
    <pc:chgData name="Katerine Schifino" userId="37bb67de-9fcf-4611-888c-7e5b58184a2a" providerId="ADAL" clId="{4F15E9D9-21E8-4A3F-AF7E-CE671A05D286}"/>
    <pc:docChg chg="undo custSel addSld delSld modSld sldOrd modMainMaster">
      <pc:chgData name="Katerine Schifino" userId="37bb67de-9fcf-4611-888c-7e5b58184a2a" providerId="ADAL" clId="{4F15E9D9-21E8-4A3F-AF7E-CE671A05D286}" dt="2022-05-04T17:49:06.275" v="969" actId="700"/>
      <pc:docMkLst>
        <pc:docMk/>
      </pc:docMkLst>
      <pc:sldChg chg="del">
        <pc:chgData name="Katerine Schifino" userId="37bb67de-9fcf-4611-888c-7e5b58184a2a" providerId="ADAL" clId="{4F15E9D9-21E8-4A3F-AF7E-CE671A05D286}" dt="2022-05-04T17:20:29.212" v="17" actId="47"/>
        <pc:sldMkLst>
          <pc:docMk/>
          <pc:sldMk cId="3188289387" sldId="2080107992"/>
        </pc:sldMkLst>
      </pc:sldChg>
      <pc:sldChg chg="del">
        <pc:chgData name="Katerine Schifino" userId="37bb67de-9fcf-4611-888c-7e5b58184a2a" providerId="ADAL" clId="{4F15E9D9-21E8-4A3F-AF7E-CE671A05D286}" dt="2022-05-04T17:20:08.484" v="0" actId="47"/>
        <pc:sldMkLst>
          <pc:docMk/>
          <pc:sldMk cId="463043937" sldId="2080107999"/>
        </pc:sldMkLst>
      </pc:sldChg>
      <pc:sldChg chg="del">
        <pc:chgData name="Katerine Schifino" userId="37bb67de-9fcf-4611-888c-7e5b58184a2a" providerId="ADAL" clId="{4F15E9D9-21E8-4A3F-AF7E-CE671A05D286}" dt="2022-05-04T17:20:35.850" v="18" actId="47"/>
        <pc:sldMkLst>
          <pc:docMk/>
          <pc:sldMk cId="3592422974" sldId="2080108014"/>
        </pc:sldMkLst>
      </pc:sldChg>
      <pc:sldChg chg="del">
        <pc:chgData name="Katerine Schifino" userId="37bb67de-9fcf-4611-888c-7e5b58184a2a" providerId="ADAL" clId="{4F15E9D9-21E8-4A3F-AF7E-CE671A05D286}" dt="2022-05-04T17:20:10.257" v="1" actId="47"/>
        <pc:sldMkLst>
          <pc:docMk/>
          <pc:sldMk cId="1462130189" sldId="2080108039"/>
        </pc:sldMkLst>
      </pc:sldChg>
      <pc:sldChg chg="del">
        <pc:chgData name="Katerine Schifino" userId="37bb67de-9fcf-4611-888c-7e5b58184a2a" providerId="ADAL" clId="{4F15E9D9-21E8-4A3F-AF7E-CE671A05D286}" dt="2022-05-04T17:20:15.057" v="5" actId="47"/>
        <pc:sldMkLst>
          <pc:docMk/>
          <pc:sldMk cId="2820227912" sldId="2080108151"/>
        </pc:sldMkLst>
      </pc:sldChg>
      <pc:sldChg chg="del">
        <pc:chgData name="Katerine Schifino" userId="37bb67de-9fcf-4611-888c-7e5b58184a2a" providerId="ADAL" clId="{4F15E9D9-21E8-4A3F-AF7E-CE671A05D286}" dt="2022-05-04T17:20:15.515" v="6" actId="47"/>
        <pc:sldMkLst>
          <pc:docMk/>
          <pc:sldMk cId="1763399354" sldId="2080108152"/>
        </pc:sldMkLst>
      </pc:sldChg>
      <pc:sldChg chg="del">
        <pc:chgData name="Katerine Schifino" userId="37bb67de-9fcf-4611-888c-7e5b58184a2a" providerId="ADAL" clId="{4F15E9D9-21E8-4A3F-AF7E-CE671A05D286}" dt="2022-05-04T17:20:15.920" v="7" actId="47"/>
        <pc:sldMkLst>
          <pc:docMk/>
          <pc:sldMk cId="2937772030" sldId="2080108154"/>
        </pc:sldMkLst>
      </pc:sldChg>
      <pc:sldChg chg="del">
        <pc:chgData name="Katerine Schifino" userId="37bb67de-9fcf-4611-888c-7e5b58184a2a" providerId="ADAL" clId="{4F15E9D9-21E8-4A3F-AF7E-CE671A05D286}" dt="2022-05-04T17:20:16.723" v="9" actId="47"/>
        <pc:sldMkLst>
          <pc:docMk/>
          <pc:sldMk cId="1434258488" sldId="2080108155"/>
        </pc:sldMkLst>
      </pc:sldChg>
      <pc:sldChg chg="del">
        <pc:chgData name="Katerine Schifino" userId="37bb67de-9fcf-4611-888c-7e5b58184a2a" providerId="ADAL" clId="{4F15E9D9-21E8-4A3F-AF7E-CE671A05D286}" dt="2022-05-04T17:20:17.082" v="10" actId="47"/>
        <pc:sldMkLst>
          <pc:docMk/>
          <pc:sldMk cId="261589050" sldId="2080108156"/>
        </pc:sldMkLst>
      </pc:sldChg>
      <pc:sldChg chg="del">
        <pc:chgData name="Katerine Schifino" userId="37bb67de-9fcf-4611-888c-7e5b58184a2a" providerId="ADAL" clId="{4F15E9D9-21E8-4A3F-AF7E-CE671A05D286}" dt="2022-05-04T17:20:17.308" v="11" actId="47"/>
        <pc:sldMkLst>
          <pc:docMk/>
          <pc:sldMk cId="2818059000" sldId="2080108157"/>
        </pc:sldMkLst>
      </pc:sldChg>
      <pc:sldChg chg="add del mod modClrScheme chgLayout">
        <pc:chgData name="Katerine Schifino" userId="37bb67de-9fcf-4611-888c-7e5b58184a2a" providerId="ADAL" clId="{4F15E9D9-21E8-4A3F-AF7E-CE671A05D286}" dt="2022-05-04T17:30:42.535" v="221" actId="700"/>
        <pc:sldMkLst>
          <pc:docMk/>
          <pc:sldMk cId="414287340" sldId="2080108159"/>
        </pc:sldMkLst>
      </pc:sldChg>
      <pc:sldChg chg="modSp mod">
        <pc:chgData name="Katerine Schifino" userId="37bb67de-9fcf-4611-888c-7e5b58184a2a" providerId="ADAL" clId="{4F15E9D9-21E8-4A3F-AF7E-CE671A05D286}" dt="2022-05-04T17:28:31.605" v="192" actId="14100"/>
        <pc:sldMkLst>
          <pc:docMk/>
          <pc:sldMk cId="3255250376" sldId="2080108160"/>
        </pc:sldMkLst>
        <pc:spChg chg="mod">
          <ac:chgData name="Katerine Schifino" userId="37bb67de-9fcf-4611-888c-7e5b58184a2a" providerId="ADAL" clId="{4F15E9D9-21E8-4A3F-AF7E-CE671A05D286}" dt="2022-05-04T17:28:30.893" v="190" actId="14100"/>
          <ac:spMkLst>
            <pc:docMk/>
            <pc:sldMk cId="3255250376" sldId="2080108160"/>
            <ac:spMk id="9" creationId="{FACCA175-DB76-4F84-B6C0-34F6C5511EF1}"/>
          </ac:spMkLst>
        </pc:spChg>
        <pc:spChg chg="mod">
          <ac:chgData name="Katerine Schifino" userId="37bb67de-9fcf-4611-888c-7e5b58184a2a" providerId="ADAL" clId="{4F15E9D9-21E8-4A3F-AF7E-CE671A05D286}" dt="2022-05-04T17:28:31.605" v="192" actId="14100"/>
          <ac:spMkLst>
            <pc:docMk/>
            <pc:sldMk cId="3255250376" sldId="2080108160"/>
            <ac:spMk id="23" creationId="{4A21A164-1096-4862-8F66-942515D91A41}"/>
          </ac:spMkLst>
        </pc:spChg>
      </pc:sldChg>
      <pc:sldChg chg="modSp mod">
        <pc:chgData name="Katerine Schifino" userId="37bb67de-9fcf-4611-888c-7e5b58184a2a" providerId="ADAL" clId="{4F15E9D9-21E8-4A3F-AF7E-CE671A05D286}" dt="2022-05-04T17:31:17.338" v="223" actId="115"/>
        <pc:sldMkLst>
          <pc:docMk/>
          <pc:sldMk cId="32849443" sldId="2080108162"/>
        </pc:sldMkLst>
        <pc:spChg chg="mod">
          <ac:chgData name="Katerine Schifino" userId="37bb67de-9fcf-4611-888c-7e5b58184a2a" providerId="ADAL" clId="{4F15E9D9-21E8-4A3F-AF7E-CE671A05D286}" dt="2022-05-04T17:31:17.338" v="223" actId="115"/>
          <ac:spMkLst>
            <pc:docMk/>
            <pc:sldMk cId="32849443" sldId="2080108162"/>
            <ac:spMk id="23" creationId="{4A21A164-1096-4862-8F66-942515D91A41}"/>
          </ac:spMkLst>
        </pc:spChg>
      </pc:sldChg>
      <pc:sldChg chg="del">
        <pc:chgData name="Katerine Schifino" userId="37bb67de-9fcf-4611-888c-7e5b58184a2a" providerId="ADAL" clId="{4F15E9D9-21E8-4A3F-AF7E-CE671A05D286}" dt="2022-05-04T17:20:16.394" v="8" actId="47"/>
        <pc:sldMkLst>
          <pc:docMk/>
          <pc:sldMk cId="810076864" sldId="2080108170"/>
        </pc:sldMkLst>
      </pc:sldChg>
      <pc:sldChg chg="del">
        <pc:chgData name="Katerine Schifino" userId="37bb67de-9fcf-4611-888c-7e5b58184a2a" providerId="ADAL" clId="{4F15E9D9-21E8-4A3F-AF7E-CE671A05D286}" dt="2022-05-04T17:20:13.922" v="3" actId="47"/>
        <pc:sldMkLst>
          <pc:docMk/>
          <pc:sldMk cId="979233031" sldId="2080108171"/>
        </pc:sldMkLst>
      </pc:sldChg>
      <pc:sldChg chg="del">
        <pc:chgData name="Katerine Schifino" userId="37bb67de-9fcf-4611-888c-7e5b58184a2a" providerId="ADAL" clId="{4F15E9D9-21E8-4A3F-AF7E-CE671A05D286}" dt="2022-05-04T17:20:17.502" v="12" actId="47"/>
        <pc:sldMkLst>
          <pc:docMk/>
          <pc:sldMk cId="1687833853" sldId="2080108172"/>
        </pc:sldMkLst>
      </pc:sldChg>
      <pc:sldChg chg="del">
        <pc:chgData name="Katerine Schifino" userId="37bb67de-9fcf-4611-888c-7e5b58184a2a" providerId="ADAL" clId="{4F15E9D9-21E8-4A3F-AF7E-CE671A05D286}" dt="2022-05-04T17:20:13.201" v="2" actId="47"/>
        <pc:sldMkLst>
          <pc:docMk/>
          <pc:sldMk cId="2503859458" sldId="2146846084"/>
        </pc:sldMkLst>
      </pc:sldChg>
      <pc:sldChg chg="del">
        <pc:chgData name="Katerine Schifino" userId="37bb67de-9fcf-4611-888c-7e5b58184a2a" providerId="ADAL" clId="{4F15E9D9-21E8-4A3F-AF7E-CE671A05D286}" dt="2022-05-04T17:20:14.473" v="4" actId="47"/>
        <pc:sldMkLst>
          <pc:docMk/>
          <pc:sldMk cId="1091940408" sldId="2146846085"/>
        </pc:sldMkLst>
      </pc:sldChg>
      <pc:sldChg chg="addSp delSp modSp mod ord modClrScheme chgLayout">
        <pc:chgData name="Katerine Schifino" userId="37bb67de-9fcf-4611-888c-7e5b58184a2a" providerId="ADAL" clId="{4F15E9D9-21E8-4A3F-AF7E-CE671A05D286}" dt="2022-05-04T17:48:52.051" v="968" actId="700"/>
        <pc:sldMkLst>
          <pc:docMk/>
          <pc:sldMk cId="3576568090" sldId="2146846137"/>
        </pc:sldMkLst>
        <pc:spChg chg="mod">
          <ac:chgData name="Katerine Schifino" userId="37bb67de-9fcf-4611-888c-7e5b58184a2a" providerId="ADAL" clId="{4F15E9D9-21E8-4A3F-AF7E-CE671A05D286}" dt="2022-05-04T17:25:20.824" v="118" actId="1076"/>
          <ac:spMkLst>
            <pc:docMk/>
            <pc:sldMk cId="3576568090" sldId="2146846137"/>
            <ac:spMk id="6" creationId="{C3E24BFF-A0DB-4ECE-96D3-5EAB937B7323}"/>
          </ac:spMkLst>
        </pc:spChg>
        <pc:spChg chg="mod">
          <ac:chgData name="Katerine Schifino" userId="37bb67de-9fcf-4611-888c-7e5b58184a2a" providerId="ADAL" clId="{4F15E9D9-21E8-4A3F-AF7E-CE671A05D286}" dt="2022-05-04T17:48:18.171" v="967" actId="14100"/>
          <ac:spMkLst>
            <pc:docMk/>
            <pc:sldMk cId="3576568090" sldId="2146846137"/>
            <ac:spMk id="8" creationId="{F3692B0D-82AC-41A6-A5BD-1A4B9AC9B985}"/>
          </ac:spMkLst>
        </pc:spChg>
        <pc:picChg chg="del">
          <ac:chgData name="Katerine Schifino" userId="37bb67de-9fcf-4611-888c-7e5b58184a2a" providerId="ADAL" clId="{4F15E9D9-21E8-4A3F-AF7E-CE671A05D286}" dt="2022-05-04T17:21:29.231" v="23" actId="478"/>
          <ac:picMkLst>
            <pc:docMk/>
            <pc:sldMk cId="3576568090" sldId="2146846137"/>
            <ac:picMk id="5126" creationId="{895C0EEB-02B6-450D-A21B-41CA55BD36FB}"/>
          </ac:picMkLst>
        </pc:picChg>
        <pc:picChg chg="add del mod">
          <ac:chgData name="Katerine Schifino" userId="37bb67de-9fcf-4611-888c-7e5b58184a2a" providerId="ADAL" clId="{4F15E9D9-21E8-4A3F-AF7E-CE671A05D286}" dt="2022-05-04T17:23:24.762" v="90" actId="478"/>
          <ac:picMkLst>
            <pc:docMk/>
            <pc:sldMk cId="3576568090" sldId="2146846137"/>
            <ac:picMk id="10242" creationId="{F4C7B92C-9F76-4554-B098-633FD77F268D}"/>
          </ac:picMkLst>
        </pc:picChg>
        <pc:picChg chg="add del mod">
          <ac:chgData name="Katerine Schifino" userId="37bb67de-9fcf-4611-888c-7e5b58184a2a" providerId="ADAL" clId="{4F15E9D9-21E8-4A3F-AF7E-CE671A05D286}" dt="2022-05-04T17:25:25.132" v="121" actId="478"/>
          <ac:picMkLst>
            <pc:docMk/>
            <pc:sldMk cId="3576568090" sldId="2146846137"/>
            <ac:picMk id="10244" creationId="{E13FAAD1-CB4B-4360-A1E0-69FDBF4F45BF}"/>
          </ac:picMkLst>
        </pc:picChg>
        <pc:picChg chg="add mod">
          <ac:chgData name="Katerine Schifino" userId="37bb67de-9fcf-4611-888c-7e5b58184a2a" providerId="ADAL" clId="{4F15E9D9-21E8-4A3F-AF7E-CE671A05D286}" dt="2022-05-04T17:26:34.303" v="177" actId="1076"/>
          <ac:picMkLst>
            <pc:docMk/>
            <pc:sldMk cId="3576568090" sldId="2146846137"/>
            <ac:picMk id="10246" creationId="{463BF0BE-64B7-4F44-8757-D00444FAE83B}"/>
          </ac:picMkLst>
        </pc:picChg>
      </pc:sldChg>
      <pc:sldChg chg="add mod modClrScheme chgLayout">
        <pc:chgData name="Katerine Schifino" userId="37bb67de-9fcf-4611-888c-7e5b58184a2a" providerId="ADAL" clId="{4F15E9D9-21E8-4A3F-AF7E-CE671A05D286}" dt="2022-05-04T17:49:06.275" v="969" actId="700"/>
        <pc:sldMkLst>
          <pc:docMk/>
          <pc:sldMk cId="429413671" sldId="2146846138"/>
        </pc:sldMkLst>
      </pc:sldChg>
      <pc:sldChg chg="del">
        <pc:chgData name="Katerine Schifino" userId="37bb67de-9fcf-4611-888c-7e5b58184a2a" providerId="ADAL" clId="{4F15E9D9-21E8-4A3F-AF7E-CE671A05D286}" dt="2022-05-04T17:20:36.067" v="19" actId="47"/>
        <pc:sldMkLst>
          <pc:docMk/>
          <pc:sldMk cId="1553596990" sldId="2146846138"/>
        </pc:sldMkLst>
      </pc:sldChg>
      <pc:sldMasterChg chg="delSldLayout modSldLayout">
        <pc:chgData name="Katerine Schifino" userId="37bb67de-9fcf-4611-888c-7e5b58184a2a" providerId="ADAL" clId="{4F15E9D9-21E8-4A3F-AF7E-CE671A05D286}" dt="2022-05-04T17:30:27.625" v="220"/>
        <pc:sldMasterMkLst>
          <pc:docMk/>
          <pc:sldMasterMk cId="2023246918" sldId="2147483660"/>
        </pc:sldMasterMkLst>
        <pc:sldLayoutChg chg="del">
          <pc:chgData name="Katerine Schifino" userId="37bb67de-9fcf-4611-888c-7e5b58184a2a" providerId="ADAL" clId="{4F15E9D9-21E8-4A3F-AF7E-CE671A05D286}" dt="2022-05-04T17:30:24.697" v="219" actId="2696"/>
          <pc:sldLayoutMkLst>
            <pc:docMk/>
            <pc:sldMasterMk cId="2023246918" sldId="2147483660"/>
            <pc:sldLayoutMk cId="3272736590" sldId="2147483670"/>
          </pc:sldLayoutMkLst>
        </pc:sldLayoutChg>
        <pc:sldLayoutChg chg="addSp modSp">
          <pc:chgData name="Katerine Schifino" userId="37bb67de-9fcf-4611-888c-7e5b58184a2a" providerId="ADAL" clId="{4F15E9D9-21E8-4A3F-AF7E-CE671A05D286}" dt="2022-05-04T17:30:18.878" v="217"/>
          <pc:sldLayoutMkLst>
            <pc:docMk/>
            <pc:sldMasterMk cId="2023246918" sldId="2147483660"/>
            <pc:sldLayoutMk cId="2584587928" sldId="2147483699"/>
          </pc:sldLayoutMkLst>
          <pc:picChg chg="add mod">
            <ac:chgData name="Katerine Schifino" userId="37bb67de-9fcf-4611-888c-7e5b58184a2a" providerId="ADAL" clId="{4F15E9D9-21E8-4A3F-AF7E-CE671A05D286}" dt="2022-05-04T17:30:18.878" v="217"/>
            <ac:picMkLst>
              <pc:docMk/>
              <pc:sldMasterMk cId="2023246918" sldId="2147483660"/>
              <pc:sldLayoutMk cId="2584587928" sldId="2147483699"/>
              <ac:picMk id="7" creationId="{F7BDF383-A4AF-4127-893C-06816FEEF435}"/>
            </ac:picMkLst>
          </pc:picChg>
        </pc:sldLayoutChg>
        <pc:sldLayoutChg chg="addSp modSp">
          <pc:chgData name="Katerine Schifino" userId="37bb67de-9fcf-4611-888c-7e5b58184a2a" providerId="ADAL" clId="{4F15E9D9-21E8-4A3F-AF7E-CE671A05D286}" dt="2022-05-04T17:30:27.625" v="220"/>
          <pc:sldLayoutMkLst>
            <pc:docMk/>
            <pc:sldMasterMk cId="2023246918" sldId="2147483660"/>
            <pc:sldLayoutMk cId="1142793338" sldId="2147483711"/>
          </pc:sldLayoutMkLst>
          <pc:picChg chg="add mod">
            <ac:chgData name="Katerine Schifino" userId="37bb67de-9fcf-4611-888c-7e5b58184a2a" providerId="ADAL" clId="{4F15E9D9-21E8-4A3F-AF7E-CE671A05D286}" dt="2022-05-04T17:30:27.625" v="220"/>
            <ac:picMkLst>
              <pc:docMk/>
              <pc:sldMasterMk cId="2023246918" sldId="2147483660"/>
              <pc:sldLayoutMk cId="1142793338" sldId="2147483711"/>
              <ac:picMk id="4" creationId="{CBEBEBD2-A40C-4031-BF92-8C13A680531A}"/>
            </ac:picMkLst>
          </pc:picChg>
        </pc:sldLayoutChg>
        <pc:sldLayoutChg chg="del">
          <pc:chgData name="Katerine Schifino" userId="37bb67de-9fcf-4611-888c-7e5b58184a2a" providerId="ADAL" clId="{4F15E9D9-21E8-4A3F-AF7E-CE671A05D286}" dt="2022-05-04T17:30:23.724" v="218" actId="2696"/>
          <pc:sldLayoutMkLst>
            <pc:docMk/>
            <pc:sldMasterMk cId="2023246918" sldId="2147483660"/>
            <pc:sldLayoutMk cId="3750704804" sldId="2147483712"/>
          </pc:sldLayoutMkLst>
        </pc:sldLayoutChg>
        <pc:sldLayoutChg chg="addSp delSp modSp mod">
          <pc:chgData name="Katerine Schifino" userId="37bb67de-9fcf-4611-888c-7e5b58184a2a" providerId="ADAL" clId="{4F15E9D9-21E8-4A3F-AF7E-CE671A05D286}" dt="2022-05-04T17:29:33.018" v="200"/>
          <pc:sldLayoutMkLst>
            <pc:docMk/>
            <pc:sldMasterMk cId="2023246918" sldId="2147483660"/>
            <pc:sldLayoutMk cId="560737642" sldId="2147483983"/>
          </pc:sldLayoutMkLst>
          <pc:picChg chg="del">
            <ac:chgData name="Katerine Schifino" userId="37bb67de-9fcf-4611-888c-7e5b58184a2a" providerId="ADAL" clId="{4F15E9D9-21E8-4A3F-AF7E-CE671A05D286}" dt="2022-05-04T17:29:31.644" v="199" actId="478"/>
            <ac:picMkLst>
              <pc:docMk/>
              <pc:sldMasterMk cId="2023246918" sldId="2147483660"/>
              <pc:sldLayoutMk cId="560737642" sldId="2147483983"/>
              <ac:picMk id="2" creationId="{518AF7B7-7079-43E1-9F38-59C96645C77F}"/>
            </ac:picMkLst>
          </pc:picChg>
          <pc:picChg chg="add mod">
            <ac:chgData name="Katerine Schifino" userId="37bb67de-9fcf-4611-888c-7e5b58184a2a" providerId="ADAL" clId="{4F15E9D9-21E8-4A3F-AF7E-CE671A05D286}" dt="2022-05-04T17:29:33.018" v="200"/>
            <ac:picMkLst>
              <pc:docMk/>
              <pc:sldMasterMk cId="2023246918" sldId="2147483660"/>
              <pc:sldLayoutMk cId="560737642" sldId="2147483983"/>
              <ac:picMk id="4" creationId="{72AE7738-0BA8-4838-84C0-C04E49FE52E3}"/>
            </ac:picMkLst>
          </pc:picChg>
        </pc:sldLayoutChg>
        <pc:sldLayoutChg chg="addSp delSp modSp mod">
          <pc:chgData name="Katerine Schifino" userId="37bb67de-9fcf-4611-888c-7e5b58184a2a" providerId="ADAL" clId="{4F15E9D9-21E8-4A3F-AF7E-CE671A05D286}" dt="2022-05-04T17:29:36.712" v="202"/>
          <pc:sldLayoutMkLst>
            <pc:docMk/>
            <pc:sldMasterMk cId="2023246918" sldId="2147483660"/>
            <pc:sldLayoutMk cId="1446075154" sldId="2147483986"/>
          </pc:sldLayoutMkLst>
          <pc:picChg chg="del">
            <ac:chgData name="Katerine Schifino" userId="37bb67de-9fcf-4611-888c-7e5b58184a2a" providerId="ADAL" clId="{4F15E9D9-21E8-4A3F-AF7E-CE671A05D286}" dt="2022-05-04T17:29:35.891" v="201" actId="478"/>
            <ac:picMkLst>
              <pc:docMk/>
              <pc:sldMasterMk cId="2023246918" sldId="2147483660"/>
              <pc:sldLayoutMk cId="1446075154" sldId="2147483986"/>
              <ac:picMk id="3" creationId="{A59629DD-CFAC-4F97-A915-022FA1A6B39C}"/>
            </ac:picMkLst>
          </pc:picChg>
          <pc:picChg chg="add mod">
            <ac:chgData name="Katerine Schifino" userId="37bb67de-9fcf-4611-888c-7e5b58184a2a" providerId="ADAL" clId="{4F15E9D9-21E8-4A3F-AF7E-CE671A05D286}" dt="2022-05-04T17:29:36.712" v="202"/>
            <ac:picMkLst>
              <pc:docMk/>
              <pc:sldMasterMk cId="2023246918" sldId="2147483660"/>
              <pc:sldLayoutMk cId="1446075154" sldId="2147483986"/>
              <ac:picMk id="4" creationId="{52DE99E4-5E24-4E4E-B329-714AD89D6067}"/>
            </ac:picMkLst>
          </pc:picChg>
        </pc:sldLayoutChg>
        <pc:sldLayoutChg chg="addSp delSp modSp mod">
          <pc:chgData name="Katerine Schifino" userId="37bb67de-9fcf-4611-888c-7e5b58184a2a" providerId="ADAL" clId="{4F15E9D9-21E8-4A3F-AF7E-CE671A05D286}" dt="2022-05-04T17:29:48.887" v="208"/>
          <pc:sldLayoutMkLst>
            <pc:docMk/>
            <pc:sldMasterMk cId="2023246918" sldId="2147483660"/>
            <pc:sldLayoutMk cId="2759410488" sldId="2147483987"/>
          </pc:sldLayoutMkLst>
          <pc:picChg chg="del">
            <ac:chgData name="Katerine Schifino" userId="37bb67de-9fcf-4611-888c-7e5b58184a2a" providerId="ADAL" clId="{4F15E9D9-21E8-4A3F-AF7E-CE671A05D286}" dt="2022-05-04T17:29:48.386" v="207" actId="478"/>
            <ac:picMkLst>
              <pc:docMk/>
              <pc:sldMasterMk cId="2023246918" sldId="2147483660"/>
              <pc:sldLayoutMk cId="2759410488" sldId="2147483987"/>
              <ac:picMk id="3" creationId="{A59629DD-CFAC-4F97-A915-022FA1A6B39C}"/>
            </ac:picMkLst>
          </pc:picChg>
          <pc:picChg chg="add mod">
            <ac:chgData name="Katerine Schifino" userId="37bb67de-9fcf-4611-888c-7e5b58184a2a" providerId="ADAL" clId="{4F15E9D9-21E8-4A3F-AF7E-CE671A05D286}" dt="2022-05-04T17:29:48.887" v="208"/>
            <ac:picMkLst>
              <pc:docMk/>
              <pc:sldMasterMk cId="2023246918" sldId="2147483660"/>
              <pc:sldLayoutMk cId="2759410488" sldId="2147483987"/>
              <ac:picMk id="4" creationId="{86C8A5BF-3BA0-4BD8-8764-775AE9C153AC}"/>
            </ac:picMkLst>
          </pc:picChg>
        </pc:sldLayoutChg>
        <pc:sldLayoutChg chg="addSp delSp modSp mod">
          <pc:chgData name="Katerine Schifino" userId="37bb67de-9fcf-4611-888c-7e5b58184a2a" providerId="ADAL" clId="{4F15E9D9-21E8-4A3F-AF7E-CE671A05D286}" dt="2022-05-04T17:29:44.635" v="206"/>
          <pc:sldLayoutMkLst>
            <pc:docMk/>
            <pc:sldMasterMk cId="2023246918" sldId="2147483660"/>
            <pc:sldLayoutMk cId="3457063296" sldId="2147483989"/>
          </pc:sldLayoutMkLst>
          <pc:picChg chg="del">
            <ac:chgData name="Katerine Schifino" userId="37bb67de-9fcf-4611-888c-7e5b58184a2a" providerId="ADAL" clId="{4F15E9D9-21E8-4A3F-AF7E-CE671A05D286}" dt="2022-05-04T17:29:44.249" v="205" actId="478"/>
            <ac:picMkLst>
              <pc:docMk/>
              <pc:sldMasterMk cId="2023246918" sldId="2147483660"/>
              <pc:sldLayoutMk cId="3457063296" sldId="2147483989"/>
              <ac:picMk id="3" creationId="{A59629DD-CFAC-4F97-A915-022FA1A6B39C}"/>
            </ac:picMkLst>
          </pc:picChg>
          <pc:picChg chg="add mod">
            <ac:chgData name="Katerine Schifino" userId="37bb67de-9fcf-4611-888c-7e5b58184a2a" providerId="ADAL" clId="{4F15E9D9-21E8-4A3F-AF7E-CE671A05D286}" dt="2022-05-04T17:29:44.635" v="206"/>
            <ac:picMkLst>
              <pc:docMk/>
              <pc:sldMasterMk cId="2023246918" sldId="2147483660"/>
              <pc:sldLayoutMk cId="3457063296" sldId="2147483989"/>
              <ac:picMk id="4" creationId="{024F3AE3-6AAF-4040-B1E9-378F80C38BEB}"/>
            </ac:picMkLst>
          </pc:picChg>
        </pc:sldLayoutChg>
        <pc:sldLayoutChg chg="addSp delSp modSp mod">
          <pc:chgData name="Katerine Schifino" userId="37bb67de-9fcf-4611-888c-7e5b58184a2a" providerId="ADAL" clId="{4F15E9D9-21E8-4A3F-AF7E-CE671A05D286}" dt="2022-05-04T17:29:41.283" v="204"/>
          <pc:sldLayoutMkLst>
            <pc:docMk/>
            <pc:sldMasterMk cId="2023246918" sldId="2147483660"/>
            <pc:sldLayoutMk cId="2134928753" sldId="2147483990"/>
          </pc:sldLayoutMkLst>
          <pc:picChg chg="del">
            <ac:chgData name="Katerine Schifino" userId="37bb67de-9fcf-4611-888c-7e5b58184a2a" providerId="ADAL" clId="{4F15E9D9-21E8-4A3F-AF7E-CE671A05D286}" dt="2022-05-04T17:29:40.849" v="203" actId="478"/>
            <ac:picMkLst>
              <pc:docMk/>
              <pc:sldMasterMk cId="2023246918" sldId="2147483660"/>
              <pc:sldLayoutMk cId="2134928753" sldId="2147483990"/>
              <ac:picMk id="3" creationId="{A59629DD-CFAC-4F97-A915-022FA1A6B39C}"/>
            </ac:picMkLst>
          </pc:picChg>
          <pc:picChg chg="add mod">
            <ac:chgData name="Katerine Schifino" userId="37bb67de-9fcf-4611-888c-7e5b58184a2a" providerId="ADAL" clId="{4F15E9D9-21E8-4A3F-AF7E-CE671A05D286}" dt="2022-05-04T17:29:41.283" v="204"/>
            <ac:picMkLst>
              <pc:docMk/>
              <pc:sldMasterMk cId="2023246918" sldId="2147483660"/>
              <pc:sldLayoutMk cId="2134928753" sldId="2147483990"/>
              <ac:picMk id="4" creationId="{7195785D-23CB-403A-B907-D6B683CF109B}"/>
            </ac:picMkLst>
          </pc:picChg>
        </pc:sldLayoutChg>
      </pc:sldMasterChg>
      <pc:sldMasterChg chg="delSldLayout">
        <pc:chgData name="Katerine Schifino" userId="37bb67de-9fcf-4611-888c-7e5b58184a2a" providerId="ADAL" clId="{4F15E9D9-21E8-4A3F-AF7E-CE671A05D286}" dt="2022-05-04T17:30:00.479" v="216" actId="2696"/>
        <pc:sldMasterMkLst>
          <pc:docMk/>
          <pc:sldMasterMk cId="400194797" sldId="2147483992"/>
        </pc:sldMasterMkLst>
        <pc:sldLayoutChg chg="del">
          <pc:chgData name="Katerine Schifino" userId="37bb67de-9fcf-4611-888c-7e5b58184a2a" providerId="ADAL" clId="{4F15E9D9-21E8-4A3F-AF7E-CE671A05D286}" dt="2022-05-04T17:29:51.294" v="209" actId="2696"/>
          <pc:sldLayoutMkLst>
            <pc:docMk/>
            <pc:sldMasterMk cId="400194797" sldId="2147483992"/>
            <pc:sldLayoutMk cId="3795317185" sldId="2147483993"/>
          </pc:sldLayoutMkLst>
        </pc:sldLayoutChg>
        <pc:sldLayoutChg chg="del">
          <pc:chgData name="Katerine Schifino" userId="37bb67de-9fcf-4611-888c-7e5b58184a2a" providerId="ADAL" clId="{4F15E9D9-21E8-4A3F-AF7E-CE671A05D286}" dt="2022-05-04T17:29:52.248" v="210" actId="2696"/>
          <pc:sldLayoutMkLst>
            <pc:docMk/>
            <pc:sldMasterMk cId="400194797" sldId="2147483992"/>
            <pc:sldLayoutMk cId="3384978550" sldId="2147483994"/>
          </pc:sldLayoutMkLst>
        </pc:sldLayoutChg>
        <pc:sldLayoutChg chg="del">
          <pc:chgData name="Katerine Schifino" userId="37bb67de-9fcf-4611-888c-7e5b58184a2a" providerId="ADAL" clId="{4F15E9D9-21E8-4A3F-AF7E-CE671A05D286}" dt="2022-05-04T17:29:52.750" v="211" actId="2696"/>
          <pc:sldLayoutMkLst>
            <pc:docMk/>
            <pc:sldMasterMk cId="400194797" sldId="2147483992"/>
            <pc:sldLayoutMk cId="2779455959" sldId="2147483995"/>
          </pc:sldLayoutMkLst>
        </pc:sldLayoutChg>
        <pc:sldLayoutChg chg="del">
          <pc:chgData name="Katerine Schifino" userId="37bb67de-9fcf-4611-888c-7e5b58184a2a" providerId="ADAL" clId="{4F15E9D9-21E8-4A3F-AF7E-CE671A05D286}" dt="2022-05-04T17:29:53.327" v="212" actId="2696"/>
          <pc:sldLayoutMkLst>
            <pc:docMk/>
            <pc:sldMasterMk cId="400194797" sldId="2147483992"/>
            <pc:sldLayoutMk cId="150808515" sldId="2147483996"/>
          </pc:sldLayoutMkLst>
        </pc:sldLayoutChg>
        <pc:sldLayoutChg chg="del">
          <pc:chgData name="Katerine Schifino" userId="37bb67de-9fcf-4611-888c-7e5b58184a2a" providerId="ADAL" clId="{4F15E9D9-21E8-4A3F-AF7E-CE671A05D286}" dt="2022-05-04T17:29:54.417" v="213" actId="2696"/>
          <pc:sldLayoutMkLst>
            <pc:docMk/>
            <pc:sldMasterMk cId="400194797" sldId="2147483992"/>
            <pc:sldLayoutMk cId="2506224404" sldId="2147483997"/>
          </pc:sldLayoutMkLst>
        </pc:sldLayoutChg>
        <pc:sldLayoutChg chg="del">
          <pc:chgData name="Katerine Schifino" userId="37bb67de-9fcf-4611-888c-7e5b58184a2a" providerId="ADAL" clId="{4F15E9D9-21E8-4A3F-AF7E-CE671A05D286}" dt="2022-05-04T17:29:55.892" v="214" actId="2696"/>
          <pc:sldLayoutMkLst>
            <pc:docMk/>
            <pc:sldMasterMk cId="400194797" sldId="2147483992"/>
            <pc:sldLayoutMk cId="884693623" sldId="2147483999"/>
          </pc:sldLayoutMkLst>
        </pc:sldLayoutChg>
        <pc:sldLayoutChg chg="del">
          <pc:chgData name="Katerine Schifino" userId="37bb67de-9fcf-4611-888c-7e5b58184a2a" providerId="ADAL" clId="{4F15E9D9-21E8-4A3F-AF7E-CE671A05D286}" dt="2022-05-04T17:29:56.979" v="215" actId="2696"/>
          <pc:sldLayoutMkLst>
            <pc:docMk/>
            <pc:sldMasterMk cId="400194797" sldId="2147483992"/>
            <pc:sldLayoutMk cId="966246756" sldId="2147484000"/>
          </pc:sldLayoutMkLst>
        </pc:sldLayoutChg>
        <pc:sldLayoutChg chg="del">
          <pc:chgData name="Katerine Schifino" userId="37bb67de-9fcf-4611-888c-7e5b58184a2a" providerId="ADAL" clId="{4F15E9D9-21E8-4A3F-AF7E-CE671A05D286}" dt="2022-05-04T17:30:00.479" v="216" actId="2696"/>
          <pc:sldLayoutMkLst>
            <pc:docMk/>
            <pc:sldMasterMk cId="400194797" sldId="2147483992"/>
            <pc:sldLayoutMk cId="1365440289" sldId="2147484002"/>
          </pc:sldLayoutMkLst>
        </pc:sldLayoutChg>
      </pc:sldMasterChg>
      <pc:sldMasterChg chg="modSldLayout">
        <pc:chgData name="Katerine Schifino" userId="37bb67de-9fcf-4611-888c-7e5b58184a2a" providerId="ADAL" clId="{4F15E9D9-21E8-4A3F-AF7E-CE671A05D286}" dt="2022-05-04T17:29:21.428" v="198"/>
        <pc:sldMasterMkLst>
          <pc:docMk/>
          <pc:sldMasterMk cId="3166221672" sldId="2147484003"/>
        </pc:sldMasterMkLst>
        <pc:sldLayoutChg chg="addSp delSp modSp mod">
          <pc:chgData name="Katerine Schifino" userId="37bb67de-9fcf-4611-888c-7e5b58184a2a" providerId="ADAL" clId="{4F15E9D9-21E8-4A3F-AF7E-CE671A05D286}" dt="2022-05-04T17:29:21.428" v="198"/>
          <pc:sldLayoutMkLst>
            <pc:docMk/>
            <pc:sldMasterMk cId="3166221672" sldId="2147484003"/>
            <pc:sldLayoutMk cId="320025418" sldId="2147484013"/>
          </pc:sldLayoutMkLst>
          <pc:picChg chg="add mod">
            <ac:chgData name="Katerine Schifino" userId="37bb67de-9fcf-4611-888c-7e5b58184a2a" providerId="ADAL" clId="{4F15E9D9-21E8-4A3F-AF7E-CE671A05D286}" dt="2022-05-04T17:29:21.428" v="198"/>
            <ac:picMkLst>
              <pc:docMk/>
              <pc:sldMasterMk cId="3166221672" sldId="2147484003"/>
              <pc:sldLayoutMk cId="320025418" sldId="2147484013"/>
              <ac:picMk id="3" creationId="{181BB1EA-254C-4FB0-8FEA-118E40926444}"/>
            </ac:picMkLst>
          </pc:picChg>
          <pc:picChg chg="del">
            <ac:chgData name="Katerine Schifino" userId="37bb67de-9fcf-4611-888c-7e5b58184a2a" providerId="ADAL" clId="{4F15E9D9-21E8-4A3F-AF7E-CE671A05D286}" dt="2022-05-04T17:29:20.713" v="197" actId="478"/>
            <ac:picMkLst>
              <pc:docMk/>
              <pc:sldMasterMk cId="3166221672" sldId="2147484003"/>
              <pc:sldLayoutMk cId="320025418" sldId="2147484013"/>
              <ac:picMk id="4" creationId="{89037011-340B-4BAD-A1B2-4E561233DAD4}"/>
            </ac:picMkLst>
          </pc:pic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23E4BD6-E97A-46A4-AA30-568852B539B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_tradnl"/>
          </a:p>
        </p:txBody>
      </p:sp>
      <p:sp>
        <p:nvSpPr>
          <p:cNvPr id="3" name="Date Placeholder 2">
            <a:extLst>
              <a:ext uri="{FF2B5EF4-FFF2-40B4-BE49-F238E27FC236}">
                <a16:creationId xmlns:a16="http://schemas.microsoft.com/office/drawing/2014/main" id="{58774AE6-0DA8-408F-8134-DDABC2EE87C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287E9E-D2F8-4C1C-BC9F-E2CABAE66FE1}" type="datetimeFigureOut">
              <a:rPr lang="es-ES_tradnl" smtClean="0"/>
              <a:t>06/05/2022</a:t>
            </a:fld>
            <a:endParaRPr lang="es-ES_tradnl"/>
          </a:p>
        </p:txBody>
      </p:sp>
      <p:sp>
        <p:nvSpPr>
          <p:cNvPr id="4" name="Footer Placeholder 3">
            <a:extLst>
              <a:ext uri="{FF2B5EF4-FFF2-40B4-BE49-F238E27FC236}">
                <a16:creationId xmlns:a16="http://schemas.microsoft.com/office/drawing/2014/main" id="{1BDC6ADC-9CF6-47F3-86B4-4F7930AEF62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_tradnl"/>
          </a:p>
        </p:txBody>
      </p:sp>
      <p:sp>
        <p:nvSpPr>
          <p:cNvPr id="5" name="Slide Number Placeholder 4">
            <a:extLst>
              <a:ext uri="{FF2B5EF4-FFF2-40B4-BE49-F238E27FC236}">
                <a16:creationId xmlns:a16="http://schemas.microsoft.com/office/drawing/2014/main" id="{EF5CB9E5-1AC4-4BEF-9A42-4B32FD446B4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3A63E78-60CA-441E-BA25-D241C8EDB6AE}" type="slidenum">
              <a:rPr lang="es-ES_tradnl" smtClean="0"/>
              <a:t>‹#›</a:t>
            </a:fld>
            <a:endParaRPr lang="es-ES_tradnl"/>
          </a:p>
        </p:txBody>
      </p:sp>
    </p:spTree>
    <p:extLst>
      <p:ext uri="{BB962C8B-B14F-4D97-AF65-F5344CB8AC3E}">
        <p14:creationId xmlns:p14="http://schemas.microsoft.com/office/powerpoint/2010/main" val="35576315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0D72FAD-8778-405C-8921-79F3C25589D4}" type="datetimeFigureOut">
              <a:rPr lang="es-MX" smtClean="0"/>
              <a:t>06/05/2022</a:t>
            </a:fld>
            <a:endParaRPr lang="es-MX"/>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325E69-1CAA-46A9-A4D5-F2855D38AA5E}" type="slidenum">
              <a:rPr lang="es-MX" smtClean="0"/>
              <a:t>‹#›</a:t>
            </a:fld>
            <a:endParaRPr lang="es-MX"/>
          </a:p>
        </p:txBody>
      </p:sp>
    </p:spTree>
    <p:extLst>
      <p:ext uri="{BB962C8B-B14F-4D97-AF65-F5344CB8AC3E}">
        <p14:creationId xmlns:p14="http://schemas.microsoft.com/office/powerpoint/2010/main" val="38593068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325E69-1CAA-46A9-A4D5-F2855D38AA5E}" type="slidenum">
              <a:rPr kumimoji="0" lang="es-MX"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s-MX"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4434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2</a:t>
            </a:fld>
            <a:endParaRPr lang="es-MX"/>
          </a:p>
        </p:txBody>
      </p:sp>
    </p:spTree>
    <p:extLst>
      <p:ext uri="{BB962C8B-B14F-4D97-AF65-F5344CB8AC3E}">
        <p14:creationId xmlns:p14="http://schemas.microsoft.com/office/powerpoint/2010/main" val="12523024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3</a:t>
            </a:fld>
            <a:endParaRPr lang="es-MX"/>
          </a:p>
        </p:txBody>
      </p:sp>
    </p:spTree>
    <p:extLst>
      <p:ext uri="{BB962C8B-B14F-4D97-AF65-F5344CB8AC3E}">
        <p14:creationId xmlns:p14="http://schemas.microsoft.com/office/powerpoint/2010/main" val="8727822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4</a:t>
            </a:fld>
            <a:endParaRPr lang="es-MX"/>
          </a:p>
        </p:txBody>
      </p:sp>
    </p:spTree>
    <p:extLst>
      <p:ext uri="{BB962C8B-B14F-4D97-AF65-F5344CB8AC3E}">
        <p14:creationId xmlns:p14="http://schemas.microsoft.com/office/powerpoint/2010/main" val="31550561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5</a:t>
            </a:fld>
            <a:endParaRPr lang="es-MX"/>
          </a:p>
        </p:txBody>
      </p:sp>
    </p:spTree>
    <p:extLst>
      <p:ext uri="{BB962C8B-B14F-4D97-AF65-F5344CB8AC3E}">
        <p14:creationId xmlns:p14="http://schemas.microsoft.com/office/powerpoint/2010/main" val="10616822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6</a:t>
            </a:fld>
            <a:endParaRPr lang="es-MX"/>
          </a:p>
        </p:txBody>
      </p:sp>
    </p:spTree>
    <p:extLst>
      <p:ext uri="{BB962C8B-B14F-4D97-AF65-F5344CB8AC3E}">
        <p14:creationId xmlns:p14="http://schemas.microsoft.com/office/powerpoint/2010/main" val="3550080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7</a:t>
            </a:fld>
            <a:endParaRPr lang="es-MX"/>
          </a:p>
        </p:txBody>
      </p:sp>
    </p:spTree>
    <p:extLst>
      <p:ext uri="{BB962C8B-B14F-4D97-AF65-F5344CB8AC3E}">
        <p14:creationId xmlns:p14="http://schemas.microsoft.com/office/powerpoint/2010/main" val="41906176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325E69-1CAA-46A9-A4D5-F2855D38AA5E}" type="slidenum">
              <a:rPr kumimoji="0" lang="es-MX"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s-MX"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8619086"/>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rgbClr val="EA3A55"/>
                </a:solidFill>
                <a:latin typeface="Georgia" panose="02040502050405020303" pitchFamily="18" charset="0"/>
              </a:rPr>
              <a:t>“ </a:t>
            </a:r>
          </a:p>
        </p:txBody>
      </p:sp>
      <p:pic>
        <p:nvPicPr>
          <p:cNvPr id="7" name="Imagen 3">
            <a:extLst>
              <a:ext uri="{FF2B5EF4-FFF2-40B4-BE49-F238E27FC236}">
                <a16:creationId xmlns:a16="http://schemas.microsoft.com/office/drawing/2014/main" id="{F7BDF383-A4AF-4127-893C-06816FEEF435}"/>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25845879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Empty">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B34AE16-8082-4E8F-A152-7D608DAFC3CE}"/>
              </a:ext>
            </a:extLst>
          </p:cNvPr>
          <p:cNvCxnSpPr>
            <a:cxnSpLocks/>
          </p:cNvCxnSpPr>
          <p:nvPr userDrawn="1"/>
        </p:nvCxnSpPr>
        <p:spPr>
          <a:xfrm>
            <a:off x="1290587" y="1233035"/>
            <a:ext cx="7160394" cy="0"/>
          </a:xfrm>
          <a:prstGeom prst="line">
            <a:avLst/>
          </a:prstGeom>
          <a:ln w="9525">
            <a:solidFill>
              <a:srgbClr val="EA3A55"/>
            </a:solidFill>
            <a:tailEnd type="none"/>
          </a:ln>
        </p:spPr>
        <p:style>
          <a:lnRef idx="1">
            <a:schemeClr val="accent1"/>
          </a:lnRef>
          <a:fillRef idx="0">
            <a:schemeClr val="accent1"/>
          </a:fillRef>
          <a:effectRef idx="0">
            <a:schemeClr val="accent1"/>
          </a:effectRef>
          <a:fontRef idx="minor">
            <a:schemeClr val="tx1"/>
          </a:fontRef>
        </p:style>
      </p:cxnSp>
      <p:pic>
        <p:nvPicPr>
          <p:cNvPr id="4" name="Imagen 3">
            <a:extLst>
              <a:ext uri="{FF2B5EF4-FFF2-40B4-BE49-F238E27FC236}">
                <a16:creationId xmlns:a16="http://schemas.microsoft.com/office/drawing/2014/main" id="{CBEBEBD2-A40C-4031-BF92-8C13A680531A}"/>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11427933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59352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 0 All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D122A6A-E87D-4B92-904F-81FA3E9576D6}"/>
              </a:ext>
            </a:extLst>
          </p:cNvPr>
          <p:cNvSpPr/>
          <p:nvPr userDrawn="1"/>
        </p:nvSpPr>
        <p:spPr>
          <a:xfrm>
            <a:off x="1269186" y="1135976"/>
            <a:ext cx="9541689" cy="5173134"/>
          </a:xfrm>
          <a:custGeom>
            <a:avLst/>
            <a:gdLst>
              <a:gd name="connsiteX0" fmla="*/ 0 w 9208607"/>
              <a:gd name="connsiteY0" fmla="*/ 0 h 5173134"/>
              <a:gd name="connsiteX1" fmla="*/ 9208607 w 9208607"/>
              <a:gd name="connsiteY1" fmla="*/ 0 h 5173134"/>
              <a:gd name="connsiteX2" fmla="*/ 9208607 w 9208607"/>
              <a:gd name="connsiteY2" fmla="*/ 5173134 h 5173134"/>
              <a:gd name="connsiteX3" fmla="*/ 0 w 9208607"/>
              <a:gd name="connsiteY3" fmla="*/ 5173134 h 5173134"/>
              <a:gd name="connsiteX4" fmla="*/ 0 w 9208607"/>
              <a:gd name="connsiteY4" fmla="*/ 0 h 5173134"/>
              <a:gd name="connsiteX0" fmla="*/ 0 w 9208607"/>
              <a:gd name="connsiteY0" fmla="*/ 0 h 5173134"/>
              <a:gd name="connsiteX1" fmla="*/ 9208607 w 9208607"/>
              <a:gd name="connsiteY1" fmla="*/ 0 h 5173134"/>
              <a:gd name="connsiteX2" fmla="*/ 9208607 w 9208607"/>
              <a:gd name="connsiteY2" fmla="*/ 3589867 h 5173134"/>
              <a:gd name="connsiteX3" fmla="*/ 0 w 9208607"/>
              <a:gd name="connsiteY3" fmla="*/ 5173134 h 5173134"/>
              <a:gd name="connsiteX4" fmla="*/ 0 w 9208607"/>
              <a:gd name="connsiteY4" fmla="*/ 0 h 5173134"/>
              <a:gd name="connsiteX0" fmla="*/ 0 w 9208607"/>
              <a:gd name="connsiteY0" fmla="*/ 0 h 5173134"/>
              <a:gd name="connsiteX1" fmla="*/ 9208607 w 9208607"/>
              <a:gd name="connsiteY1" fmla="*/ 0 h 5173134"/>
              <a:gd name="connsiteX2" fmla="*/ 9200140 w 9208607"/>
              <a:gd name="connsiteY2" fmla="*/ 3716867 h 5173134"/>
              <a:gd name="connsiteX3" fmla="*/ 0 w 9208607"/>
              <a:gd name="connsiteY3" fmla="*/ 5173134 h 5173134"/>
              <a:gd name="connsiteX4" fmla="*/ 0 w 9208607"/>
              <a:gd name="connsiteY4" fmla="*/ 0 h 5173134"/>
              <a:gd name="connsiteX0" fmla="*/ 0 w 9209421"/>
              <a:gd name="connsiteY0" fmla="*/ 0 h 5173134"/>
              <a:gd name="connsiteX1" fmla="*/ 9208607 w 9209421"/>
              <a:gd name="connsiteY1" fmla="*/ 0 h 5173134"/>
              <a:gd name="connsiteX2" fmla="*/ 9208607 w 9209421"/>
              <a:gd name="connsiteY2" fmla="*/ 3759201 h 5173134"/>
              <a:gd name="connsiteX3" fmla="*/ 0 w 9209421"/>
              <a:gd name="connsiteY3" fmla="*/ 5173134 h 5173134"/>
              <a:gd name="connsiteX4" fmla="*/ 0 w 9209421"/>
              <a:gd name="connsiteY4" fmla="*/ 0 h 5173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9421" h="5173134">
                <a:moveTo>
                  <a:pt x="0" y="0"/>
                </a:moveTo>
                <a:lnTo>
                  <a:pt x="9208607" y="0"/>
                </a:lnTo>
                <a:cubicBezTo>
                  <a:pt x="9205785" y="1238956"/>
                  <a:pt x="9211429" y="2520245"/>
                  <a:pt x="9208607" y="3759201"/>
                </a:cubicBezTo>
                <a:lnTo>
                  <a:pt x="0" y="5173134"/>
                </a:lnTo>
                <a:lnTo>
                  <a:pt x="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4" name="Imagen 3">
            <a:extLst>
              <a:ext uri="{FF2B5EF4-FFF2-40B4-BE49-F238E27FC236}">
                <a16:creationId xmlns:a16="http://schemas.microsoft.com/office/drawing/2014/main" id="{72AE7738-0BA8-4838-84C0-C04E49FE52E3}"/>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5607376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8_ 0 All White">
    <p:spTree>
      <p:nvGrpSpPr>
        <p:cNvPr id="1" name=""/>
        <p:cNvGrpSpPr/>
        <p:nvPr/>
      </p:nvGrpSpPr>
      <p:grpSpPr>
        <a:xfrm>
          <a:off x="0" y="0"/>
          <a:ext cx="0" cy="0"/>
          <a:chOff x="0" y="0"/>
          <a:chExt cx="0" cy="0"/>
        </a:xfrm>
      </p:grpSpPr>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1192118"/>
            <a:ext cx="0" cy="356260"/>
          </a:xfrm>
          <a:prstGeom prst="line">
            <a:avLst/>
          </a:prstGeom>
          <a:noFill/>
          <a:ln w="76200" cap="flat" cmpd="sng" algn="ctr">
            <a:solidFill>
              <a:srgbClr val="EA3A55"/>
            </a:solidFill>
            <a:prstDash val="solid"/>
            <a:miter lim="800000"/>
          </a:ln>
          <a:effectLst/>
        </p:spPr>
      </p:cxnSp>
      <p:pic>
        <p:nvPicPr>
          <p:cNvPr id="4" name="Imagen 3">
            <a:extLst>
              <a:ext uri="{FF2B5EF4-FFF2-40B4-BE49-F238E27FC236}">
                <a16:creationId xmlns:a16="http://schemas.microsoft.com/office/drawing/2014/main" id="{52DE99E4-5E24-4E4E-B329-714AD89D6067}"/>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1446075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1_ 0 All White">
    <p:spTree>
      <p:nvGrpSpPr>
        <p:cNvPr id="1" name=""/>
        <p:cNvGrpSpPr/>
        <p:nvPr/>
      </p:nvGrpSpPr>
      <p:grpSpPr>
        <a:xfrm>
          <a:off x="0" y="0"/>
          <a:ext cx="0" cy="0"/>
          <a:chOff x="0" y="0"/>
          <a:chExt cx="0" cy="0"/>
        </a:xfrm>
      </p:grpSpPr>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220568"/>
            <a:ext cx="0" cy="356260"/>
          </a:xfrm>
          <a:prstGeom prst="line">
            <a:avLst/>
          </a:prstGeom>
          <a:noFill/>
          <a:ln w="76200" cap="flat" cmpd="sng" algn="ctr">
            <a:solidFill>
              <a:srgbClr val="EA3A55"/>
            </a:solidFill>
            <a:prstDash val="solid"/>
            <a:miter lim="800000"/>
          </a:ln>
          <a:effectLst/>
        </p:spPr>
      </p:cxnSp>
      <p:pic>
        <p:nvPicPr>
          <p:cNvPr id="4" name="Imagen 3">
            <a:extLst>
              <a:ext uri="{FF2B5EF4-FFF2-40B4-BE49-F238E27FC236}">
                <a16:creationId xmlns:a16="http://schemas.microsoft.com/office/drawing/2014/main" id="{7195785D-23CB-403A-B907-D6B683CF109B}"/>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21349287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0_ 0 All White">
    <p:spTree>
      <p:nvGrpSpPr>
        <p:cNvPr id="1" name=""/>
        <p:cNvGrpSpPr/>
        <p:nvPr/>
      </p:nvGrpSpPr>
      <p:grpSpPr>
        <a:xfrm>
          <a:off x="0" y="0"/>
          <a:ext cx="0" cy="0"/>
          <a:chOff x="0" y="0"/>
          <a:chExt cx="0" cy="0"/>
        </a:xfrm>
      </p:grpSpPr>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1577130"/>
            <a:ext cx="0" cy="356260"/>
          </a:xfrm>
          <a:prstGeom prst="line">
            <a:avLst/>
          </a:prstGeom>
          <a:noFill/>
          <a:ln w="76200" cap="flat" cmpd="sng" algn="ctr">
            <a:solidFill>
              <a:srgbClr val="EA3A55"/>
            </a:solidFill>
            <a:prstDash val="solid"/>
            <a:miter lim="800000"/>
          </a:ln>
          <a:effectLst/>
        </p:spPr>
      </p:cxnSp>
      <p:pic>
        <p:nvPicPr>
          <p:cNvPr id="4" name="Imagen 3">
            <a:extLst>
              <a:ext uri="{FF2B5EF4-FFF2-40B4-BE49-F238E27FC236}">
                <a16:creationId xmlns:a16="http://schemas.microsoft.com/office/drawing/2014/main" id="{024F3AE3-6AAF-4040-B1E9-378F80C38BEB}"/>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34570632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 0 All White">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86C8A5BF-3BA0-4BD8-8764-775AE9C153AC}"/>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27594104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_ 0 All White">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E4D16436-264F-4351-AD6B-1D2232DAB85C}"/>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pic>
        <p:nvPicPr>
          <p:cNvPr id="8" name="Picture 4">
            <a:extLst>
              <a:ext uri="{FF2B5EF4-FFF2-40B4-BE49-F238E27FC236}">
                <a16:creationId xmlns:a16="http://schemas.microsoft.com/office/drawing/2014/main" id="{B4EA689D-80F7-4CD1-B2F1-CAEA0F17213D}"/>
              </a:ext>
            </a:extLst>
          </p:cNvPr>
          <p:cNvPicPr>
            <a:picLocks noChangeAspect="1" noChangeArrowheads="1"/>
          </p:cNvPicPr>
          <p:nvPr userDrawn="1"/>
        </p:nvPicPr>
        <p:blipFill>
          <a:blip r:embed="rId4">
            <a:alphaModFix amt="4000"/>
            <a:extLst>
              <a:ext uri="{28A0092B-C50C-407E-A947-70E740481C1C}">
                <a14:useLocalDpi xmlns:a14="http://schemas.microsoft.com/office/drawing/2010/main" val="0"/>
              </a:ext>
            </a:extLst>
          </a:blip>
          <a:srcRect/>
          <a:stretch>
            <a:fillRect/>
          </a:stretch>
        </p:blipFill>
        <p:spPr bwMode="auto">
          <a:xfrm>
            <a:off x="3102544" y="0"/>
            <a:ext cx="4876800" cy="48768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a:extLst>
              <a:ext uri="{FF2B5EF4-FFF2-40B4-BE49-F238E27FC236}">
                <a16:creationId xmlns:a16="http://schemas.microsoft.com/office/drawing/2014/main" id="{C76B4DBF-9FB2-49CD-9916-3E041CA5728D}"/>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l="29671"/>
          <a:stretch/>
        </p:blipFill>
        <p:spPr bwMode="auto">
          <a:xfrm>
            <a:off x="-1" y="0"/>
            <a:ext cx="3429803" cy="48768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a:extLst>
              <a:ext uri="{FF2B5EF4-FFF2-40B4-BE49-F238E27FC236}">
                <a16:creationId xmlns:a16="http://schemas.microsoft.com/office/drawing/2014/main" id="{8373B186-8D07-4B83-86BE-C88123E30371}"/>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r="13619"/>
          <a:stretch/>
        </p:blipFill>
        <p:spPr bwMode="auto">
          <a:xfrm>
            <a:off x="7979344" y="0"/>
            <a:ext cx="4212656" cy="48768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a:extLst>
              <a:ext uri="{FF2B5EF4-FFF2-40B4-BE49-F238E27FC236}">
                <a16:creationId xmlns:a16="http://schemas.microsoft.com/office/drawing/2014/main" id="{8D6260DF-65BA-4B8E-93B3-CC06118EA2D9}"/>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b="55989"/>
          <a:stretch/>
        </p:blipFill>
        <p:spPr bwMode="auto">
          <a:xfrm>
            <a:off x="-1" y="4711700"/>
            <a:ext cx="4876800" cy="21463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a:extLst>
              <a:ext uri="{FF2B5EF4-FFF2-40B4-BE49-F238E27FC236}">
                <a16:creationId xmlns:a16="http://schemas.microsoft.com/office/drawing/2014/main" id="{5B9A083B-30D6-405F-8D76-C6762C4D1BDA}"/>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l="535" t="41448" r="-535" b="14541"/>
          <a:stretch/>
        </p:blipFill>
        <p:spPr bwMode="auto">
          <a:xfrm>
            <a:off x="4876799" y="4876800"/>
            <a:ext cx="4876800" cy="21463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a:extLst>
              <a:ext uri="{FF2B5EF4-FFF2-40B4-BE49-F238E27FC236}">
                <a16:creationId xmlns:a16="http://schemas.microsoft.com/office/drawing/2014/main" id="{0D8FEBFE-B555-4112-981D-BB471C6AA659}"/>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r="53059" b="55989"/>
          <a:stretch/>
        </p:blipFill>
        <p:spPr bwMode="auto">
          <a:xfrm>
            <a:off x="9902791" y="4711700"/>
            <a:ext cx="2289209" cy="2146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8335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281CDC-D1D4-4F04-9840-456D23352707}"/>
              </a:ext>
            </a:extLst>
          </p:cNvPr>
          <p:cNvGraphicFramePr>
            <a:graphicFrameLocks noChangeAspect="1"/>
          </p:cNvGraphicFramePr>
          <p:nvPr userDrawn="1">
            <p:custDataLst>
              <p:tags r:id="rId11"/>
            </p:custDataLst>
            <p:extLst>
              <p:ext uri="{D42A27DB-BD31-4B8C-83A1-F6EECF244321}">
                <p14:modId xmlns:p14="http://schemas.microsoft.com/office/powerpoint/2010/main" val="245677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98" imgH="499" progId="TCLayout.ActiveDocument.1">
                  <p:embed/>
                </p:oleObj>
              </mc:Choice>
              <mc:Fallback>
                <p:oleObj name="think-cell Slide" r:id="rId13" imgW="498" imgH="499" progId="TCLayout.ActiveDocument.1">
                  <p:embed/>
                  <p:pic>
                    <p:nvPicPr>
                      <p:cNvPr id="5" name="Object 4" hidden="1">
                        <a:extLst>
                          <a:ext uri="{FF2B5EF4-FFF2-40B4-BE49-F238E27FC236}">
                            <a16:creationId xmlns:a16="http://schemas.microsoft.com/office/drawing/2014/main" id="{0A281CDC-D1D4-4F04-9840-456D2335270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1BD1DB-0BED-4B26-9D4D-918AD44E57CF}"/>
              </a:ext>
            </a:extLst>
          </p:cNvPr>
          <p:cNvSpPr/>
          <p:nvPr userDrawn="1">
            <p:custDataLst>
              <p:tags r:id="rId1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9"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23246918"/>
      </p:ext>
    </p:extLst>
  </p:cSld>
  <p:clrMap bg1="lt1" tx1="dk1" bg2="lt2" tx2="dk2" accent1="accent1" accent2="accent2" accent3="accent3" accent4="accent4" accent5="accent5" accent6="accent6" hlink="hlink" folHlink="folHlink"/>
  <p:sldLayoutIdLst>
    <p:sldLayoutId id="2147483699" r:id="rId1"/>
    <p:sldLayoutId id="2147483711" r:id="rId2"/>
    <p:sldLayoutId id="2147483985" r:id="rId3"/>
    <p:sldLayoutId id="2147483983" r:id="rId4"/>
    <p:sldLayoutId id="2147483986" r:id="rId5"/>
    <p:sldLayoutId id="2147483990" r:id="rId6"/>
    <p:sldLayoutId id="2147483989" r:id="rId7"/>
    <p:sldLayoutId id="2147483987" r:id="rId8"/>
    <p:sldLayoutId id="2147483991" r:id="rId9"/>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3E24BFF-A0DB-4ECE-96D3-5EAB937B7323}"/>
              </a:ext>
            </a:extLst>
          </p:cNvPr>
          <p:cNvSpPr txBox="1"/>
          <p:nvPr/>
        </p:nvSpPr>
        <p:spPr>
          <a:xfrm>
            <a:off x="283633" y="450488"/>
            <a:ext cx="11624733" cy="1305165"/>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s-CO"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TO INDIVIDUAL </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s-CO"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l mapa del modelo de negocio disruptivo"</a:t>
            </a:r>
          </a:p>
        </p:txBody>
      </p:sp>
      <p:sp>
        <p:nvSpPr>
          <p:cNvPr id="8" name="TextBox 7">
            <a:extLst>
              <a:ext uri="{FF2B5EF4-FFF2-40B4-BE49-F238E27FC236}">
                <a16:creationId xmlns:a16="http://schemas.microsoft.com/office/drawing/2014/main" id="{F3692B0D-82AC-41A6-A5BD-1A4B9AC9B985}"/>
              </a:ext>
            </a:extLst>
          </p:cNvPr>
          <p:cNvSpPr txBox="1"/>
          <p:nvPr/>
        </p:nvSpPr>
        <p:spPr>
          <a:xfrm>
            <a:off x="3532472" y="2190973"/>
            <a:ext cx="8087137" cy="4216539"/>
          </a:xfrm>
          <a:prstGeom prst="rect">
            <a:avLst/>
          </a:prstGeom>
          <a:noFill/>
        </p:spPr>
        <p:txBody>
          <a:bodyPr wrap="square" rtlCol="0">
            <a:spAutoFit/>
          </a:bodyPr>
          <a:lstStyle/>
          <a:p>
            <a:pPr marL="0" marR="0" lvl="0" indent="0" algn="l" defTabSz="914400" rtl="0" eaLnBrk="1" fontAlgn="auto" latinLnBrk="0" hangingPunct="1">
              <a:spcBef>
                <a:spcPts val="0"/>
              </a:spcBef>
              <a:spcAft>
                <a:spcPts val="0"/>
              </a:spcAft>
              <a:buClrTx/>
              <a:buSzTx/>
              <a:buFontTx/>
              <a:buNone/>
              <a:tabLst/>
              <a:defRPr/>
            </a:pPr>
            <a:r>
              <a:rPr kumimoji="0" lang="en-GB" sz="24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Fecha</a:t>
            </a:r>
            <a:r>
              <a:rPr kumimoji="0" lang="en-GB"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e </a:t>
            </a:r>
            <a:r>
              <a:rPr kumimoji="0" lang="en-GB" sz="24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entrega</a:t>
            </a:r>
            <a:r>
              <a:rPr kumimoji="0" lang="en-GB"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2400" b="1" i="0" u="none" strike="noStrike" kern="1200" cap="none" spc="0" normalizeH="0" baseline="0" noProof="0" dirty="0">
                <a:ln>
                  <a:noFill/>
                </a:ln>
                <a:solidFill>
                  <a:prstClr val="white"/>
                </a:solidFill>
                <a:effectLst/>
                <a:highlight>
                  <a:srgbClr val="EA3A55"/>
                </a:highlight>
                <a:uLnTx/>
                <a:uFillTx/>
                <a:latin typeface="Arial" panose="020B0604020202020204" pitchFamily="34" charset="0"/>
                <a:ea typeface="+mn-ea"/>
                <a:cs typeface="Arial" panose="020B0604020202020204" pitchFamily="34" charset="0"/>
              </a:rPr>
              <a:t>Jueves, 26 de mayo</a:t>
            </a:r>
            <a:endParaRPr kumimoji="0" lang="en-GB" sz="2400" b="1" i="0" u="none" strike="noStrike" kern="1200" cap="none" spc="0" normalizeH="0" baseline="30000" noProof="0" dirty="0">
              <a:ln>
                <a:noFill/>
              </a:ln>
              <a:solidFill>
                <a:prstClr val="white"/>
              </a:solidFill>
              <a:effectLst/>
              <a:highlight>
                <a:srgbClr val="EA3A55"/>
              </a:highligh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spcBef>
                <a:spcPts val="0"/>
              </a:spcBef>
              <a:spcAft>
                <a:spcPts val="0"/>
              </a:spcAft>
              <a:buClrTx/>
              <a:buSzTx/>
              <a:buFontTx/>
              <a:buNone/>
              <a:tabLst/>
              <a:defRPr/>
            </a:pPr>
            <a:endParaRPr kumimoji="0" lang="en-GB" sz="2400" b="1" i="0" u="none" strike="noStrike" kern="1200" cap="none" spc="0" normalizeH="0" baseline="0" noProof="0" dirty="0">
              <a:ln>
                <a:noFill/>
              </a:ln>
              <a:solidFill>
                <a:prstClr val="white"/>
              </a:solidFill>
              <a:effectLst/>
              <a:highlight>
                <a:srgbClr val="EA3A55"/>
              </a:highligh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spcBef>
                <a:spcPts val="0"/>
              </a:spcBef>
              <a:spcAft>
                <a:spcPts val="0"/>
              </a:spcAft>
              <a:buClrTx/>
              <a:buSzTx/>
              <a:buFont typeface="Arial" panose="020B0604020202020204" pitchFamily="34" charset="0"/>
              <a:buChar char="•"/>
              <a:tabLst/>
              <a:defRPr/>
            </a:pPr>
            <a:r>
              <a:rPr lang="es-CO" sz="2000" dirty="0">
                <a:solidFill>
                  <a:schemeClr val="bg1"/>
                </a:solidFill>
                <a:latin typeface="Arial" panose="020B0604020202020204" pitchFamily="34" charset="0"/>
                <a:cs typeface="Arial" panose="020B0604020202020204" pitchFamily="34" charset="0"/>
              </a:rPr>
              <a:t>El objetivo de este ejercicio es ayudarte a entender las debilidades y fortalezas de tu modelo de negocio en comparación con otros negocios.</a:t>
            </a:r>
          </a:p>
          <a:p>
            <a:pPr marL="342900" marR="0" lvl="0" indent="-342900" algn="l" defTabSz="914400" rtl="0" eaLnBrk="1" fontAlgn="auto" latinLnBrk="0" hangingPunct="1">
              <a:spcBef>
                <a:spcPts val="0"/>
              </a:spcBef>
              <a:spcAft>
                <a:spcPts val="0"/>
              </a:spcAft>
              <a:buClrTx/>
              <a:buSzTx/>
              <a:buFont typeface="Arial" panose="020B0604020202020204" pitchFamily="34" charset="0"/>
              <a:buChar char="•"/>
              <a:tabLst/>
              <a:defRPr/>
            </a:pPr>
            <a:r>
              <a:rPr lang="es-CO" sz="2000" dirty="0">
                <a:solidFill>
                  <a:schemeClr val="bg1"/>
                </a:solidFill>
                <a:latin typeface="Arial" panose="020B0604020202020204" pitchFamily="34" charset="0"/>
                <a:cs typeface="Arial" panose="020B0604020202020204" pitchFamily="34" charset="0"/>
              </a:rPr>
              <a:t>Ten en cuenta que se trata de un ejercicio descriptivo en el que debes evaluar tanto tu modelo de negocio (propuesta de valor y red de valor) como el de un competidor.</a:t>
            </a:r>
          </a:p>
          <a:p>
            <a:pPr marL="342900" marR="0" lvl="0" indent="-342900" algn="l" defTabSz="914400" rtl="0" eaLnBrk="1" fontAlgn="auto" latinLnBrk="0" hangingPunct="1">
              <a:spcBef>
                <a:spcPts val="0"/>
              </a:spcBef>
              <a:spcAft>
                <a:spcPts val="0"/>
              </a:spcAft>
              <a:buClrTx/>
              <a:buSzTx/>
              <a:buFont typeface="Arial" panose="020B0604020202020204" pitchFamily="34" charset="0"/>
              <a:buChar char="•"/>
              <a:tabLst/>
              <a:defRPr/>
            </a:pPr>
            <a:r>
              <a:rPr lang="es-CO" sz="2000" dirty="0">
                <a:solidFill>
                  <a:schemeClr val="bg1"/>
                </a:solidFill>
                <a:latin typeface="Arial" panose="020B0604020202020204" pitchFamily="34" charset="0"/>
                <a:cs typeface="Arial" panose="020B0604020202020204" pitchFamily="34" charset="0"/>
              </a:rPr>
              <a:t>Al final del ejercicio:</a:t>
            </a:r>
          </a:p>
          <a:p>
            <a:pPr marL="800100" lvl="1" indent="-342900">
              <a:buFont typeface="Wingdings" panose="05000000000000000000" pitchFamily="2" charset="2"/>
              <a:buChar char="v"/>
              <a:defRPr/>
            </a:pPr>
            <a:r>
              <a:rPr lang="es-CO" sz="2000" dirty="0">
                <a:solidFill>
                  <a:schemeClr val="bg1"/>
                </a:solidFill>
                <a:latin typeface="Arial" panose="020B0604020202020204" pitchFamily="34" charset="0"/>
                <a:cs typeface="Arial" panose="020B0604020202020204" pitchFamily="34" charset="0"/>
              </a:rPr>
              <a:t>Desafiante: podrás identificar si tienes un modelo de negocio realmente disruptivo con potencial para ganar en el mercado</a:t>
            </a:r>
          </a:p>
          <a:p>
            <a:pPr marL="800100" lvl="1" indent="-342900">
              <a:buFont typeface="Wingdings" panose="05000000000000000000" pitchFamily="2" charset="2"/>
              <a:buChar char="v"/>
              <a:defRPr/>
            </a:pPr>
            <a:r>
              <a:rPr lang="es-CO" sz="2000" dirty="0">
                <a:solidFill>
                  <a:schemeClr val="bg1"/>
                </a:solidFill>
                <a:latin typeface="Arial" panose="020B0604020202020204" pitchFamily="34" charset="0"/>
                <a:cs typeface="Arial" panose="020B0604020202020204" pitchFamily="34" charset="0"/>
              </a:rPr>
              <a:t>Incumbente: podrás identificar si tu modelo de negocio actual está en vías de fracasar y necesita actualizarse.</a:t>
            </a:r>
          </a:p>
        </p:txBody>
      </p:sp>
      <p:pic>
        <p:nvPicPr>
          <p:cNvPr id="10246" name="Picture 6">
            <a:extLst>
              <a:ext uri="{FF2B5EF4-FFF2-40B4-BE49-F238E27FC236}">
                <a16:creationId xmlns:a16="http://schemas.microsoft.com/office/drawing/2014/main" id="{463BF0BE-64B7-4F44-8757-D00444FAE8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2391" y="2607644"/>
            <a:ext cx="2793087" cy="27930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5680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B7BC6A8-CBC8-412E-9AB0-BE35D21D01FA}"/>
              </a:ext>
            </a:extLst>
          </p:cNvPr>
          <p:cNvSpPr txBox="1"/>
          <p:nvPr/>
        </p:nvSpPr>
        <p:spPr>
          <a:xfrm>
            <a:off x="770466" y="228599"/>
            <a:ext cx="9711446"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s-CO" sz="2400" b="1" dirty="0">
                <a:solidFill>
                  <a:schemeClr val="bg1"/>
                </a:solidFill>
                <a:latin typeface="Arial" panose="020B0604020202020204" pitchFamily="34" charset="0"/>
                <a:cs typeface="Arial" panose="020B0604020202020204" pitchFamily="34" charset="0"/>
              </a:rPr>
              <a:t>Herramienta: El mapa del modelo de negocio disruptivo</a:t>
            </a:r>
          </a:p>
        </p:txBody>
      </p:sp>
      <p:sp>
        <p:nvSpPr>
          <p:cNvPr id="6" name="Rectangle: Rounded Corners 5">
            <a:extLst>
              <a:ext uri="{FF2B5EF4-FFF2-40B4-BE49-F238E27FC236}">
                <a16:creationId xmlns:a16="http://schemas.microsoft.com/office/drawing/2014/main" id="{3FE16D8B-8C69-4369-8636-E93C3359CD40}"/>
              </a:ext>
            </a:extLst>
          </p:cNvPr>
          <p:cNvSpPr/>
          <p:nvPr/>
        </p:nvSpPr>
        <p:spPr>
          <a:xfrm>
            <a:off x="1375833" y="1168400"/>
            <a:ext cx="3242734" cy="567267"/>
          </a:xfrm>
          <a:prstGeom prst="roundRect">
            <a:avLst/>
          </a:prstGeom>
          <a:solidFill>
            <a:schemeClr val="bg1"/>
          </a:solidFill>
          <a:ln w="19050">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b="1" dirty="0">
                <a:solidFill>
                  <a:sysClr val="windowText" lastClr="000000"/>
                </a:solidFill>
                <a:latin typeface="Arial" panose="020B0604020202020204" pitchFamily="34" charset="0"/>
                <a:cs typeface="Arial" panose="020B0604020202020204" pitchFamily="34" charset="0"/>
              </a:rPr>
              <a:t>Desafiante</a:t>
            </a:r>
          </a:p>
        </p:txBody>
      </p:sp>
      <p:sp>
        <p:nvSpPr>
          <p:cNvPr id="17" name="Rectangle: Rounded Corners 16">
            <a:extLst>
              <a:ext uri="{FF2B5EF4-FFF2-40B4-BE49-F238E27FC236}">
                <a16:creationId xmlns:a16="http://schemas.microsoft.com/office/drawing/2014/main" id="{FE5FABC4-9C9D-4EC5-914C-D7523547E913}"/>
              </a:ext>
            </a:extLst>
          </p:cNvPr>
          <p:cNvSpPr/>
          <p:nvPr/>
        </p:nvSpPr>
        <p:spPr>
          <a:xfrm>
            <a:off x="7497235" y="1168399"/>
            <a:ext cx="3242734" cy="567267"/>
          </a:xfrm>
          <a:prstGeom prst="roundRect">
            <a:avLst/>
          </a:prstGeom>
          <a:solidFill>
            <a:schemeClr val="bg1"/>
          </a:solidFill>
          <a:ln w="19050">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b="1" dirty="0">
                <a:solidFill>
                  <a:sysClr val="windowText" lastClr="000000"/>
                </a:solidFill>
                <a:latin typeface="Arial" panose="020B0604020202020204" pitchFamily="34" charset="0"/>
                <a:cs typeface="Arial" panose="020B0604020202020204" pitchFamily="34" charset="0"/>
              </a:rPr>
              <a:t>Incumbente</a:t>
            </a:r>
          </a:p>
        </p:txBody>
      </p:sp>
      <p:sp>
        <p:nvSpPr>
          <p:cNvPr id="19" name="Rectangle: Rounded Corners 18">
            <a:extLst>
              <a:ext uri="{FF2B5EF4-FFF2-40B4-BE49-F238E27FC236}">
                <a16:creationId xmlns:a16="http://schemas.microsoft.com/office/drawing/2014/main" id="{0BC12DE8-DC08-4988-89EF-A1B524DC810A}"/>
              </a:ext>
            </a:extLst>
          </p:cNvPr>
          <p:cNvSpPr/>
          <p:nvPr/>
        </p:nvSpPr>
        <p:spPr>
          <a:xfrm>
            <a:off x="4436533" y="1985934"/>
            <a:ext cx="3242734" cy="567267"/>
          </a:xfrm>
          <a:prstGeom prst="roundRect">
            <a:avLst/>
          </a:prstGeom>
          <a:solidFill>
            <a:schemeClr val="bg1"/>
          </a:solidFill>
          <a:ln w="19050">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b="1" dirty="0">
                <a:solidFill>
                  <a:sysClr val="windowText" lastClr="000000"/>
                </a:solidFill>
                <a:latin typeface="Arial" panose="020B0604020202020204" pitchFamily="34" charset="0"/>
                <a:cs typeface="Arial" panose="020B0604020202020204" pitchFamily="34" charset="0"/>
              </a:rPr>
              <a:t>Cliente</a:t>
            </a:r>
          </a:p>
        </p:txBody>
      </p:sp>
      <p:sp>
        <p:nvSpPr>
          <p:cNvPr id="20" name="Rectangle: Rounded Corners 19">
            <a:extLst>
              <a:ext uri="{FF2B5EF4-FFF2-40B4-BE49-F238E27FC236}">
                <a16:creationId xmlns:a16="http://schemas.microsoft.com/office/drawing/2014/main" id="{F9F220A8-DE8D-4EE0-B42C-2B0B5E534950}"/>
              </a:ext>
            </a:extLst>
          </p:cNvPr>
          <p:cNvSpPr/>
          <p:nvPr/>
        </p:nvSpPr>
        <p:spPr>
          <a:xfrm>
            <a:off x="1885971" y="2803469"/>
            <a:ext cx="3242734" cy="2318868"/>
          </a:xfrm>
          <a:prstGeom prst="roundRect">
            <a:avLst/>
          </a:prstGeom>
          <a:solidFill>
            <a:schemeClr val="accent5">
              <a:lumMod val="20000"/>
              <a:lumOff val="80000"/>
            </a:schemeClr>
          </a:solidFill>
          <a:ln w="19050">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s-CO" b="1" dirty="0">
                <a:solidFill>
                  <a:schemeClr val="tx1"/>
                </a:solidFill>
                <a:latin typeface="Arial" panose="020B0604020202020204" pitchFamily="34" charset="0"/>
                <a:cs typeface="Arial" panose="020B0604020202020204" pitchFamily="34" charset="0"/>
              </a:rPr>
              <a:t>Propuesta de valor</a:t>
            </a:r>
          </a:p>
        </p:txBody>
      </p:sp>
      <p:sp>
        <p:nvSpPr>
          <p:cNvPr id="21" name="Rectangle: Rounded Corners 20">
            <a:extLst>
              <a:ext uri="{FF2B5EF4-FFF2-40B4-BE49-F238E27FC236}">
                <a16:creationId xmlns:a16="http://schemas.microsoft.com/office/drawing/2014/main" id="{C3A73D0C-360C-448E-9168-A0CB139A081E}"/>
              </a:ext>
            </a:extLst>
          </p:cNvPr>
          <p:cNvSpPr/>
          <p:nvPr/>
        </p:nvSpPr>
        <p:spPr>
          <a:xfrm>
            <a:off x="7085040" y="2803468"/>
            <a:ext cx="3242734" cy="2318868"/>
          </a:xfrm>
          <a:prstGeom prst="roundRect">
            <a:avLst/>
          </a:prstGeom>
          <a:solidFill>
            <a:schemeClr val="accent5">
              <a:lumMod val="20000"/>
              <a:lumOff val="80000"/>
            </a:schemeClr>
          </a:solidFill>
          <a:ln w="19050">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s-CO" b="1" dirty="0">
                <a:solidFill>
                  <a:schemeClr val="tx1"/>
                </a:solidFill>
                <a:latin typeface="Arial" panose="020B0604020202020204" pitchFamily="34" charset="0"/>
                <a:cs typeface="Arial" panose="020B0604020202020204" pitchFamily="34" charset="0"/>
              </a:rPr>
              <a:t>Red de valor</a:t>
            </a:r>
          </a:p>
        </p:txBody>
      </p:sp>
      <p:sp>
        <p:nvSpPr>
          <p:cNvPr id="22" name="Rectangle: Rounded Corners 21">
            <a:extLst>
              <a:ext uri="{FF2B5EF4-FFF2-40B4-BE49-F238E27FC236}">
                <a16:creationId xmlns:a16="http://schemas.microsoft.com/office/drawing/2014/main" id="{2B3BBCB7-D5C2-47E4-8C58-CA521F3DC868}"/>
              </a:ext>
            </a:extLst>
          </p:cNvPr>
          <p:cNvSpPr/>
          <p:nvPr/>
        </p:nvSpPr>
        <p:spPr>
          <a:xfrm>
            <a:off x="1375833" y="5409204"/>
            <a:ext cx="9364136" cy="847663"/>
          </a:xfrm>
          <a:prstGeom prst="roundRect">
            <a:avLst/>
          </a:prstGeom>
          <a:solidFill>
            <a:srgbClr val="EA3A5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s-CO" b="1" dirty="0">
                <a:solidFill>
                  <a:schemeClr val="bg1"/>
                </a:solidFill>
                <a:latin typeface="Arial" panose="020B0604020202020204" pitchFamily="34" charset="0"/>
                <a:cs typeface="Arial" panose="020B0604020202020204" pitchFamily="34" charset="0"/>
              </a:rPr>
              <a:t>Prueba de dos partes</a:t>
            </a:r>
          </a:p>
        </p:txBody>
      </p:sp>
      <p:cxnSp>
        <p:nvCxnSpPr>
          <p:cNvPr id="8" name="Straight Connector 7">
            <a:extLst>
              <a:ext uri="{FF2B5EF4-FFF2-40B4-BE49-F238E27FC236}">
                <a16:creationId xmlns:a16="http://schemas.microsoft.com/office/drawing/2014/main" id="{EDE69083-D8AB-4B0D-9CDA-70FE296172D7}"/>
              </a:ext>
            </a:extLst>
          </p:cNvPr>
          <p:cNvCxnSpPr>
            <a:cxnSpLocks/>
          </p:cNvCxnSpPr>
          <p:nvPr/>
        </p:nvCxnSpPr>
        <p:spPr>
          <a:xfrm>
            <a:off x="1885971" y="3353303"/>
            <a:ext cx="3242734" cy="0"/>
          </a:xfrm>
          <a:prstGeom prst="line">
            <a:avLst/>
          </a:prstGeom>
          <a:ln w="9525">
            <a:solidFill>
              <a:srgbClr val="EA3A55"/>
            </a:solidFill>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24C46EC-AFA0-4270-A7BE-98388B871DA9}"/>
              </a:ext>
            </a:extLst>
          </p:cNvPr>
          <p:cNvCxnSpPr>
            <a:cxnSpLocks/>
          </p:cNvCxnSpPr>
          <p:nvPr/>
        </p:nvCxnSpPr>
        <p:spPr>
          <a:xfrm>
            <a:off x="1885971" y="4204203"/>
            <a:ext cx="3242734" cy="0"/>
          </a:xfrm>
          <a:prstGeom prst="line">
            <a:avLst/>
          </a:prstGeom>
          <a:ln w="9525">
            <a:solidFill>
              <a:srgbClr val="EA3A55"/>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E033956-63BB-497A-9F5C-96B1B8AD58AD}"/>
              </a:ext>
            </a:extLst>
          </p:cNvPr>
          <p:cNvCxnSpPr>
            <a:cxnSpLocks/>
          </p:cNvCxnSpPr>
          <p:nvPr/>
        </p:nvCxnSpPr>
        <p:spPr>
          <a:xfrm>
            <a:off x="7085040" y="3353303"/>
            <a:ext cx="3242734" cy="0"/>
          </a:xfrm>
          <a:prstGeom prst="line">
            <a:avLst/>
          </a:prstGeom>
          <a:ln w="9525">
            <a:solidFill>
              <a:srgbClr val="EA3A55"/>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4E7152D-095F-4D20-B7C5-3A1654F9824A}"/>
              </a:ext>
            </a:extLst>
          </p:cNvPr>
          <p:cNvCxnSpPr>
            <a:cxnSpLocks/>
          </p:cNvCxnSpPr>
          <p:nvPr/>
        </p:nvCxnSpPr>
        <p:spPr>
          <a:xfrm>
            <a:off x="7085040" y="4204203"/>
            <a:ext cx="3242734" cy="0"/>
          </a:xfrm>
          <a:prstGeom prst="line">
            <a:avLst/>
          </a:prstGeom>
          <a:ln w="9525">
            <a:solidFill>
              <a:srgbClr val="EA3A55"/>
            </a:solidFill>
            <a:tailEnd type="non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06E9B4BA-5A13-438B-A60A-300B618CEB2A}"/>
              </a:ext>
            </a:extLst>
          </p:cNvPr>
          <p:cNvSpPr/>
          <p:nvPr/>
        </p:nvSpPr>
        <p:spPr>
          <a:xfrm>
            <a:off x="1885971" y="3349688"/>
            <a:ext cx="3242734" cy="850893"/>
          </a:xfrm>
          <a:prstGeom prst="rect">
            <a:avLst/>
          </a:prstGeom>
          <a:solidFill>
            <a:srgbClr val="EA3A55">
              <a:alpha val="4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dirty="0">
              <a:solidFill>
                <a:schemeClr val="tx1"/>
              </a:solidFill>
            </a:endParaRPr>
          </a:p>
        </p:txBody>
      </p:sp>
      <p:sp>
        <p:nvSpPr>
          <p:cNvPr id="30" name="TextBox 29">
            <a:extLst>
              <a:ext uri="{FF2B5EF4-FFF2-40B4-BE49-F238E27FC236}">
                <a16:creationId xmlns:a16="http://schemas.microsoft.com/office/drawing/2014/main" id="{47502A89-7771-4FC9-80D4-1D51E87F912B}"/>
              </a:ext>
            </a:extLst>
          </p:cNvPr>
          <p:cNvSpPr txBox="1"/>
          <p:nvPr/>
        </p:nvSpPr>
        <p:spPr>
          <a:xfrm>
            <a:off x="2493433" y="3623772"/>
            <a:ext cx="2036234" cy="369332"/>
          </a:xfrm>
          <a:prstGeom prst="rect">
            <a:avLst/>
          </a:prstGeom>
          <a:noFill/>
          <a:ln>
            <a:noFill/>
          </a:ln>
        </p:spPr>
        <p:txBody>
          <a:bodyPr wrap="square">
            <a:spAutoFit/>
          </a:bodyPr>
          <a:lstStyle/>
          <a:p>
            <a:pPr algn="ctr"/>
            <a:r>
              <a:rPr lang="es-CO" dirty="0">
                <a:solidFill>
                  <a:schemeClr val="bg1"/>
                </a:solidFill>
                <a:latin typeface="Arial" panose="020B0604020202020204" pitchFamily="34" charset="0"/>
                <a:cs typeface="Arial" panose="020B0604020202020204" pitchFamily="34" charset="0"/>
              </a:rPr>
              <a:t>Componentes</a:t>
            </a:r>
          </a:p>
        </p:txBody>
      </p:sp>
      <p:sp>
        <p:nvSpPr>
          <p:cNvPr id="31" name="TextBox 30">
            <a:extLst>
              <a:ext uri="{FF2B5EF4-FFF2-40B4-BE49-F238E27FC236}">
                <a16:creationId xmlns:a16="http://schemas.microsoft.com/office/drawing/2014/main" id="{258A40CA-CD2C-48F8-8CD9-26DEE2CB8AC3}"/>
              </a:ext>
            </a:extLst>
          </p:cNvPr>
          <p:cNvSpPr txBox="1"/>
          <p:nvPr/>
        </p:nvSpPr>
        <p:spPr>
          <a:xfrm>
            <a:off x="2493433" y="4437372"/>
            <a:ext cx="2036234" cy="369332"/>
          </a:xfrm>
          <a:prstGeom prst="rect">
            <a:avLst/>
          </a:prstGeom>
          <a:solidFill>
            <a:schemeClr val="tx1">
              <a:lumMod val="50000"/>
            </a:schemeClr>
          </a:solidFill>
          <a:ln>
            <a:noFill/>
          </a:ln>
        </p:spPr>
        <p:txBody>
          <a:bodyPr wrap="square">
            <a:spAutoFit/>
          </a:bodyPr>
          <a:lstStyle/>
          <a:p>
            <a:pPr algn="ctr"/>
            <a:r>
              <a:rPr lang="es-CO" dirty="0">
                <a:solidFill>
                  <a:schemeClr val="bg1"/>
                </a:solidFill>
                <a:latin typeface="Arial" panose="020B0604020202020204" pitchFamily="34" charset="0"/>
                <a:cs typeface="Arial" panose="020B0604020202020204" pitchFamily="34" charset="0"/>
              </a:rPr>
              <a:t>Diferencial</a:t>
            </a:r>
          </a:p>
        </p:txBody>
      </p:sp>
      <p:sp>
        <p:nvSpPr>
          <p:cNvPr id="12" name="Rectangle 11">
            <a:extLst>
              <a:ext uri="{FF2B5EF4-FFF2-40B4-BE49-F238E27FC236}">
                <a16:creationId xmlns:a16="http://schemas.microsoft.com/office/drawing/2014/main" id="{6266C3E0-5F17-459F-A47E-526CFB0F4983}"/>
              </a:ext>
            </a:extLst>
          </p:cNvPr>
          <p:cNvSpPr/>
          <p:nvPr/>
        </p:nvSpPr>
        <p:spPr>
          <a:xfrm>
            <a:off x="7085040" y="3353303"/>
            <a:ext cx="3242734" cy="850893"/>
          </a:xfrm>
          <a:prstGeom prst="rect">
            <a:avLst/>
          </a:prstGeom>
          <a:solidFill>
            <a:srgbClr val="EA3A55">
              <a:alpha val="4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dirty="0">
              <a:solidFill>
                <a:schemeClr val="tx1"/>
              </a:solidFill>
            </a:endParaRPr>
          </a:p>
        </p:txBody>
      </p:sp>
      <p:sp>
        <p:nvSpPr>
          <p:cNvPr id="32" name="TextBox 31">
            <a:extLst>
              <a:ext uri="{FF2B5EF4-FFF2-40B4-BE49-F238E27FC236}">
                <a16:creationId xmlns:a16="http://schemas.microsoft.com/office/drawing/2014/main" id="{52DDE010-9372-47A7-A23A-65A66FB1B207}"/>
              </a:ext>
            </a:extLst>
          </p:cNvPr>
          <p:cNvSpPr txBox="1"/>
          <p:nvPr/>
        </p:nvSpPr>
        <p:spPr>
          <a:xfrm>
            <a:off x="7717030" y="3603571"/>
            <a:ext cx="2036234" cy="369332"/>
          </a:xfrm>
          <a:prstGeom prst="rect">
            <a:avLst/>
          </a:prstGeom>
          <a:noFill/>
          <a:ln>
            <a:noFill/>
          </a:ln>
        </p:spPr>
        <p:txBody>
          <a:bodyPr wrap="square">
            <a:spAutoFit/>
          </a:bodyPr>
          <a:lstStyle/>
          <a:p>
            <a:pPr algn="ctr"/>
            <a:r>
              <a:rPr lang="es-CO" dirty="0">
                <a:solidFill>
                  <a:schemeClr val="bg1"/>
                </a:solidFill>
                <a:latin typeface="Arial" panose="020B0604020202020204" pitchFamily="34" charset="0"/>
                <a:cs typeface="Arial" panose="020B0604020202020204" pitchFamily="34" charset="0"/>
              </a:rPr>
              <a:t>Componentes</a:t>
            </a:r>
          </a:p>
        </p:txBody>
      </p:sp>
      <p:sp>
        <p:nvSpPr>
          <p:cNvPr id="33" name="TextBox 32">
            <a:extLst>
              <a:ext uri="{FF2B5EF4-FFF2-40B4-BE49-F238E27FC236}">
                <a16:creationId xmlns:a16="http://schemas.microsoft.com/office/drawing/2014/main" id="{2CB41CC0-00AA-461C-83BF-8E203A93045C}"/>
              </a:ext>
            </a:extLst>
          </p:cNvPr>
          <p:cNvSpPr txBox="1"/>
          <p:nvPr/>
        </p:nvSpPr>
        <p:spPr>
          <a:xfrm>
            <a:off x="7717030" y="4417171"/>
            <a:ext cx="2036234" cy="369332"/>
          </a:xfrm>
          <a:prstGeom prst="rect">
            <a:avLst/>
          </a:prstGeom>
          <a:solidFill>
            <a:schemeClr val="tx1">
              <a:lumMod val="50000"/>
            </a:schemeClr>
          </a:solidFill>
          <a:ln>
            <a:noFill/>
          </a:ln>
        </p:spPr>
        <p:txBody>
          <a:bodyPr wrap="square">
            <a:spAutoFit/>
          </a:bodyPr>
          <a:lstStyle/>
          <a:p>
            <a:pPr algn="ctr"/>
            <a:r>
              <a:rPr lang="es-CO" dirty="0">
                <a:solidFill>
                  <a:schemeClr val="bg1"/>
                </a:solidFill>
                <a:latin typeface="Arial" panose="020B0604020202020204" pitchFamily="34" charset="0"/>
                <a:cs typeface="Arial" panose="020B0604020202020204" pitchFamily="34" charset="0"/>
              </a:rPr>
              <a:t>Diferencial</a:t>
            </a:r>
          </a:p>
        </p:txBody>
      </p:sp>
      <p:sp>
        <p:nvSpPr>
          <p:cNvPr id="36" name="TextBox 35">
            <a:extLst>
              <a:ext uri="{FF2B5EF4-FFF2-40B4-BE49-F238E27FC236}">
                <a16:creationId xmlns:a16="http://schemas.microsoft.com/office/drawing/2014/main" id="{0A4B7261-6F8E-4555-ACF1-5261776D6629}"/>
              </a:ext>
            </a:extLst>
          </p:cNvPr>
          <p:cNvSpPr txBox="1"/>
          <p:nvPr/>
        </p:nvSpPr>
        <p:spPr>
          <a:xfrm>
            <a:off x="1452031" y="5820807"/>
            <a:ext cx="4008969" cy="369332"/>
          </a:xfrm>
          <a:prstGeom prst="rect">
            <a:avLst/>
          </a:prstGeom>
          <a:noFill/>
          <a:ln>
            <a:noFill/>
          </a:ln>
        </p:spPr>
        <p:txBody>
          <a:bodyPr wrap="square">
            <a:spAutoFit/>
          </a:bodyPr>
          <a:lstStyle/>
          <a:p>
            <a:pPr algn="ctr"/>
            <a:r>
              <a:rPr lang="es-CO" i="1" dirty="0">
                <a:solidFill>
                  <a:schemeClr val="bg1"/>
                </a:solidFill>
                <a:latin typeface="Arial" panose="020B0604020202020204" pitchFamily="34" charset="0"/>
                <a:cs typeface="Arial" panose="020B0604020202020204" pitchFamily="34" charset="0"/>
              </a:rPr>
              <a:t>¿Desplaza radicalmente el valor?</a:t>
            </a:r>
          </a:p>
        </p:txBody>
      </p:sp>
      <p:sp>
        <p:nvSpPr>
          <p:cNvPr id="37" name="TextBox 36">
            <a:extLst>
              <a:ext uri="{FF2B5EF4-FFF2-40B4-BE49-F238E27FC236}">
                <a16:creationId xmlns:a16="http://schemas.microsoft.com/office/drawing/2014/main" id="{88299265-914D-45C6-B75D-DCCF006E2EA9}"/>
              </a:ext>
            </a:extLst>
          </p:cNvPr>
          <p:cNvSpPr txBox="1"/>
          <p:nvPr/>
        </p:nvSpPr>
        <p:spPr>
          <a:xfrm>
            <a:off x="7886702" y="5820807"/>
            <a:ext cx="2853267" cy="369332"/>
          </a:xfrm>
          <a:prstGeom prst="rect">
            <a:avLst/>
          </a:prstGeom>
          <a:noFill/>
          <a:ln>
            <a:noFill/>
          </a:ln>
        </p:spPr>
        <p:txBody>
          <a:bodyPr wrap="square">
            <a:spAutoFit/>
          </a:bodyPr>
          <a:lstStyle/>
          <a:p>
            <a:pPr algn="ctr"/>
            <a:r>
              <a:rPr lang="es-CO" i="1" dirty="0">
                <a:solidFill>
                  <a:schemeClr val="bg1"/>
                </a:solidFill>
                <a:latin typeface="Arial" panose="020B0604020202020204" pitchFamily="34" charset="0"/>
                <a:cs typeface="Arial" panose="020B0604020202020204" pitchFamily="34" charset="0"/>
              </a:rPr>
              <a:t>¿Barrera a la imitación?</a:t>
            </a:r>
          </a:p>
        </p:txBody>
      </p:sp>
    </p:spTree>
    <p:extLst>
      <p:ext uri="{BB962C8B-B14F-4D97-AF65-F5344CB8AC3E}">
        <p14:creationId xmlns:p14="http://schemas.microsoft.com/office/powerpoint/2010/main" val="32487977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3FE16D8B-8C69-4369-8636-E93C3359CD40}"/>
              </a:ext>
            </a:extLst>
          </p:cNvPr>
          <p:cNvSpPr/>
          <p:nvPr/>
        </p:nvSpPr>
        <p:spPr>
          <a:xfrm>
            <a:off x="770466" y="1056269"/>
            <a:ext cx="3242734" cy="567267"/>
          </a:xfrm>
          <a:prstGeom prst="roundRect">
            <a:avLst/>
          </a:prstGeom>
          <a:solidFill>
            <a:schemeClr val="bg1"/>
          </a:solidFill>
          <a:ln w="19050">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b="1" dirty="0">
                <a:solidFill>
                  <a:sysClr val="windowText" lastClr="000000"/>
                </a:solidFill>
                <a:latin typeface="Arial" panose="020B0604020202020204" pitchFamily="34" charset="0"/>
                <a:cs typeface="Arial" panose="020B0604020202020204" pitchFamily="34" charset="0"/>
              </a:rPr>
              <a:t>Desafiante</a:t>
            </a:r>
          </a:p>
        </p:txBody>
      </p:sp>
      <p:sp>
        <p:nvSpPr>
          <p:cNvPr id="23" name="TextBox 22">
            <a:extLst>
              <a:ext uri="{FF2B5EF4-FFF2-40B4-BE49-F238E27FC236}">
                <a16:creationId xmlns:a16="http://schemas.microsoft.com/office/drawing/2014/main" id="{4A21A164-1096-4862-8F66-942515D91A41}"/>
              </a:ext>
            </a:extLst>
          </p:cNvPr>
          <p:cNvSpPr txBox="1"/>
          <p:nvPr/>
        </p:nvSpPr>
        <p:spPr>
          <a:xfrm>
            <a:off x="770466" y="1833585"/>
            <a:ext cx="10138834" cy="1754326"/>
          </a:xfrm>
          <a:prstGeom prst="rect">
            <a:avLst/>
          </a:prstGeom>
          <a:noFill/>
        </p:spPr>
        <p:txBody>
          <a:bodyPr wrap="square">
            <a:spAutoFit/>
          </a:bodyPr>
          <a:lstStyle/>
          <a:p>
            <a:r>
              <a:rPr lang="es-CO" dirty="0">
                <a:solidFill>
                  <a:schemeClr val="bg1"/>
                </a:solidFill>
                <a:latin typeface="Arial" panose="020B0604020202020204" pitchFamily="34" charset="0"/>
                <a:cs typeface="Arial" panose="020B0604020202020204" pitchFamily="34" charset="0"/>
              </a:rPr>
              <a:t>El desafiante que identificas aquí puede ser: </a:t>
            </a:r>
          </a:p>
          <a:p>
            <a:endParaRPr lang="es-CO"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s-CO" dirty="0">
                <a:solidFill>
                  <a:schemeClr val="bg1"/>
                </a:solidFill>
                <a:latin typeface="Arial" panose="020B0604020202020204" pitchFamily="34" charset="0"/>
                <a:cs typeface="Arial" panose="020B0604020202020204" pitchFamily="34" charset="0"/>
              </a:rPr>
              <a:t>Un nuevo competidor</a:t>
            </a:r>
          </a:p>
          <a:p>
            <a:pPr marL="285750" indent="-285750">
              <a:buFont typeface="Arial" panose="020B0604020202020204" pitchFamily="34" charset="0"/>
              <a:buChar char="•"/>
            </a:pPr>
            <a:r>
              <a:rPr lang="es-CO" dirty="0">
                <a:solidFill>
                  <a:schemeClr val="bg1"/>
                </a:solidFill>
                <a:latin typeface="Arial" panose="020B0604020202020204" pitchFamily="34" charset="0"/>
                <a:cs typeface="Arial" panose="020B0604020202020204" pitchFamily="34" charset="0"/>
              </a:rPr>
              <a:t>Tu propia empresa emergente, que intenta disrumpir un sector existente. </a:t>
            </a:r>
          </a:p>
          <a:p>
            <a:pPr marL="285750" indent="-285750">
              <a:buFont typeface="Arial" panose="020B0604020202020204" pitchFamily="34" charset="0"/>
              <a:buChar char="•"/>
            </a:pPr>
            <a:r>
              <a:rPr lang="es-CO" dirty="0">
                <a:solidFill>
                  <a:schemeClr val="bg1"/>
                </a:solidFill>
                <a:latin typeface="Arial" panose="020B0604020202020204" pitchFamily="34" charset="0"/>
                <a:cs typeface="Arial" panose="020B0604020202020204" pitchFamily="34" charset="0"/>
              </a:rPr>
              <a:t>Una nueva empresa o iniciativa potencial dentro de tu organización cuyo potencial disruptivo quieres poner a prueba.</a:t>
            </a:r>
          </a:p>
        </p:txBody>
      </p:sp>
      <p:sp>
        <p:nvSpPr>
          <p:cNvPr id="7" name="TextBox 6">
            <a:extLst>
              <a:ext uri="{FF2B5EF4-FFF2-40B4-BE49-F238E27FC236}">
                <a16:creationId xmlns:a16="http://schemas.microsoft.com/office/drawing/2014/main" id="{096A9AEA-4CF3-4AD6-AEAD-7C32C3C9205F}"/>
              </a:ext>
            </a:extLst>
          </p:cNvPr>
          <p:cNvSpPr txBox="1"/>
          <p:nvPr/>
        </p:nvSpPr>
        <p:spPr>
          <a:xfrm>
            <a:off x="4223084" y="1157322"/>
            <a:ext cx="6097604" cy="369332"/>
          </a:xfrm>
          <a:prstGeom prst="rect">
            <a:avLst/>
          </a:prstGeom>
          <a:noFill/>
        </p:spPr>
        <p:txBody>
          <a:bodyPr wrap="square">
            <a:spAutoFit/>
          </a:bodyPr>
          <a:lstStyle/>
          <a:p>
            <a:r>
              <a:rPr lang="es-CO" b="1" dirty="0">
                <a:solidFill>
                  <a:schemeClr val="bg1"/>
                </a:solidFill>
                <a:latin typeface="Arial" panose="020B0604020202020204" pitchFamily="34" charset="0"/>
                <a:cs typeface="Arial" panose="020B0604020202020204" pitchFamily="34" charset="0"/>
              </a:rPr>
              <a:t>¿Cuál es el negocio potencialmente disruptivo?</a:t>
            </a:r>
          </a:p>
        </p:txBody>
      </p:sp>
      <p:sp>
        <p:nvSpPr>
          <p:cNvPr id="8" name="Rectangle: Rounded Corners 7">
            <a:extLst>
              <a:ext uri="{FF2B5EF4-FFF2-40B4-BE49-F238E27FC236}">
                <a16:creationId xmlns:a16="http://schemas.microsoft.com/office/drawing/2014/main" id="{B8999D0A-ED48-44B6-962A-27FDECCBB766}"/>
              </a:ext>
            </a:extLst>
          </p:cNvPr>
          <p:cNvSpPr/>
          <p:nvPr/>
        </p:nvSpPr>
        <p:spPr>
          <a:xfrm>
            <a:off x="770466" y="3772307"/>
            <a:ext cx="3242734" cy="567267"/>
          </a:xfrm>
          <a:prstGeom prst="roundRect">
            <a:avLst/>
          </a:prstGeom>
          <a:solidFill>
            <a:schemeClr val="bg1"/>
          </a:solidFill>
          <a:ln w="19050">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b="1" dirty="0">
                <a:solidFill>
                  <a:sysClr val="windowText" lastClr="000000"/>
                </a:solidFill>
                <a:latin typeface="Arial" panose="020B0604020202020204" pitchFamily="34" charset="0"/>
                <a:cs typeface="Arial" panose="020B0604020202020204" pitchFamily="34" charset="0"/>
              </a:rPr>
              <a:t>Incumbente</a:t>
            </a:r>
          </a:p>
        </p:txBody>
      </p:sp>
      <p:sp>
        <p:nvSpPr>
          <p:cNvPr id="9" name="TextBox 8">
            <a:extLst>
              <a:ext uri="{FF2B5EF4-FFF2-40B4-BE49-F238E27FC236}">
                <a16:creationId xmlns:a16="http://schemas.microsoft.com/office/drawing/2014/main" id="{FACCA175-DB76-4F84-B6C0-34F6C5511EF1}"/>
              </a:ext>
            </a:extLst>
          </p:cNvPr>
          <p:cNvSpPr txBox="1"/>
          <p:nvPr/>
        </p:nvSpPr>
        <p:spPr>
          <a:xfrm>
            <a:off x="770466" y="4593357"/>
            <a:ext cx="10981980" cy="2031325"/>
          </a:xfrm>
          <a:prstGeom prst="rect">
            <a:avLst/>
          </a:prstGeom>
          <a:noFill/>
        </p:spPr>
        <p:txBody>
          <a:bodyPr wrap="square">
            <a:spAutoFit/>
          </a:bodyPr>
          <a:lstStyle/>
          <a:p>
            <a:r>
              <a:rPr lang="es-CO" dirty="0">
                <a:solidFill>
                  <a:schemeClr val="bg1"/>
                </a:solidFill>
                <a:latin typeface="Arial" panose="020B0604020202020204" pitchFamily="34" charset="0"/>
                <a:cs typeface="Arial" panose="020B0604020202020204" pitchFamily="34" charset="0"/>
              </a:rPr>
              <a:t>Puedes elegir entre: </a:t>
            </a:r>
          </a:p>
          <a:p>
            <a:endParaRPr lang="es-CO"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s-CO" dirty="0">
                <a:solidFill>
                  <a:schemeClr val="bg1"/>
                </a:solidFill>
                <a:latin typeface="Arial" panose="020B0604020202020204" pitchFamily="34" charset="0"/>
                <a:cs typeface="Arial" panose="020B0604020202020204" pitchFamily="34" charset="0"/>
              </a:rPr>
              <a:t>Una categoría de empresas relacionadas (por ejemplo, cadenas de alquiler de vídeos) </a:t>
            </a:r>
          </a:p>
          <a:p>
            <a:pPr marL="285750" indent="-285750">
              <a:buFont typeface="Arial" panose="020B0604020202020204" pitchFamily="34" charset="0"/>
              <a:buChar char="•"/>
            </a:pPr>
            <a:r>
              <a:rPr lang="es-CO" dirty="0">
                <a:solidFill>
                  <a:schemeClr val="bg1"/>
                </a:solidFill>
                <a:latin typeface="Arial" panose="020B0604020202020204" pitchFamily="34" charset="0"/>
                <a:cs typeface="Arial" panose="020B0604020202020204" pitchFamily="34" charset="0"/>
              </a:rPr>
              <a:t>O un ejemplo líder de la categoría (por ejemplo, Blockbuster)</a:t>
            </a:r>
          </a:p>
          <a:p>
            <a:endParaRPr lang="es-CO" dirty="0">
              <a:solidFill>
                <a:schemeClr val="bg1"/>
              </a:solidFill>
              <a:latin typeface="Arial" panose="020B0604020202020204" pitchFamily="34" charset="0"/>
              <a:cs typeface="Arial" panose="020B0604020202020204" pitchFamily="34" charset="0"/>
            </a:endParaRPr>
          </a:p>
          <a:p>
            <a:r>
              <a:rPr lang="es-CO" dirty="0">
                <a:solidFill>
                  <a:schemeClr val="bg1"/>
                </a:solidFill>
                <a:latin typeface="Arial" panose="020B0604020202020204" pitchFamily="34" charset="0"/>
                <a:cs typeface="Arial" panose="020B0604020202020204" pitchFamily="34" charset="0"/>
              </a:rPr>
              <a:t>Si tu eres el desafiante, puede identificar varios incumbentes que puedan verse amenazados por tu nuevo modelo de negocio, pero para el propósito de este ejercicio debes centrarte en </a:t>
            </a:r>
            <a:r>
              <a:rPr lang="es-CO" u="sng" dirty="0">
                <a:solidFill>
                  <a:schemeClr val="bg1"/>
                </a:solidFill>
                <a:latin typeface="Arial" panose="020B0604020202020204" pitchFamily="34" charset="0"/>
                <a:cs typeface="Arial" panose="020B0604020202020204" pitchFamily="34" charset="0"/>
              </a:rPr>
              <a:t>UNO</a:t>
            </a:r>
            <a:r>
              <a:rPr lang="es-CO" dirty="0">
                <a:solidFill>
                  <a:schemeClr val="bg1"/>
                </a:solidFill>
                <a:latin typeface="Arial" panose="020B0604020202020204" pitchFamily="34" charset="0"/>
                <a:cs typeface="Arial" panose="020B0604020202020204" pitchFamily="34" charset="0"/>
              </a:rPr>
              <a:t>.</a:t>
            </a:r>
          </a:p>
        </p:txBody>
      </p:sp>
      <p:sp>
        <p:nvSpPr>
          <p:cNvPr id="10" name="TextBox 9">
            <a:extLst>
              <a:ext uri="{FF2B5EF4-FFF2-40B4-BE49-F238E27FC236}">
                <a16:creationId xmlns:a16="http://schemas.microsoft.com/office/drawing/2014/main" id="{F979F80B-3196-4624-980C-3FE2835F729E}"/>
              </a:ext>
            </a:extLst>
          </p:cNvPr>
          <p:cNvSpPr txBox="1"/>
          <p:nvPr/>
        </p:nvSpPr>
        <p:spPr>
          <a:xfrm>
            <a:off x="4223084" y="3911871"/>
            <a:ext cx="6097604" cy="369332"/>
          </a:xfrm>
          <a:prstGeom prst="rect">
            <a:avLst/>
          </a:prstGeom>
          <a:noFill/>
        </p:spPr>
        <p:txBody>
          <a:bodyPr wrap="square">
            <a:spAutoFit/>
          </a:bodyPr>
          <a:lstStyle/>
          <a:p>
            <a:r>
              <a:rPr lang="en-US" b="1" dirty="0">
                <a:solidFill>
                  <a:schemeClr val="bg1"/>
                </a:solidFill>
                <a:latin typeface="Arial" panose="020B0604020202020204" pitchFamily="34" charset="0"/>
                <a:cs typeface="Arial" panose="020B0604020202020204" pitchFamily="34" charset="0"/>
              </a:rPr>
              <a:t>¿</a:t>
            </a:r>
            <a:r>
              <a:rPr lang="en-US" b="1" dirty="0" err="1">
                <a:solidFill>
                  <a:schemeClr val="bg1"/>
                </a:solidFill>
                <a:latin typeface="Arial" panose="020B0604020202020204" pitchFamily="34" charset="0"/>
                <a:cs typeface="Arial" panose="020B0604020202020204" pitchFamily="34" charset="0"/>
              </a:rPr>
              <a:t>Quién</a:t>
            </a:r>
            <a:r>
              <a:rPr lang="en-US" b="1" dirty="0">
                <a:solidFill>
                  <a:schemeClr val="bg1"/>
                </a:solidFill>
                <a:latin typeface="Arial" panose="020B0604020202020204" pitchFamily="34" charset="0"/>
                <a:cs typeface="Arial" panose="020B0604020202020204" pitchFamily="34" charset="0"/>
              </a:rPr>
              <a:t> es </a:t>
            </a:r>
            <a:r>
              <a:rPr lang="en-US" b="1" dirty="0" err="1">
                <a:solidFill>
                  <a:schemeClr val="bg1"/>
                </a:solidFill>
                <a:latin typeface="Arial" panose="020B0604020202020204" pitchFamily="34" charset="0"/>
                <a:cs typeface="Arial" panose="020B0604020202020204" pitchFamily="34" charset="0"/>
              </a:rPr>
              <a:t>el</a:t>
            </a:r>
            <a:r>
              <a:rPr lang="en-US" b="1" dirty="0">
                <a:solidFill>
                  <a:schemeClr val="bg1"/>
                </a:solidFill>
                <a:latin typeface="Arial" panose="020B0604020202020204" pitchFamily="34" charset="0"/>
                <a:cs typeface="Arial" panose="020B0604020202020204" pitchFamily="34" charset="0"/>
              </a:rPr>
              <a:t> </a:t>
            </a:r>
            <a:r>
              <a:rPr lang="en-US" b="1" dirty="0" err="1">
                <a:solidFill>
                  <a:schemeClr val="bg1"/>
                </a:solidFill>
                <a:latin typeface="Arial" panose="020B0604020202020204" pitchFamily="34" charset="0"/>
                <a:cs typeface="Arial" panose="020B0604020202020204" pitchFamily="34" charset="0"/>
              </a:rPr>
              <a:t>incumbente</a:t>
            </a:r>
            <a:r>
              <a:rPr lang="en-US" b="1" dirty="0">
                <a:solidFill>
                  <a:schemeClr val="bg1"/>
                </a:solidFill>
                <a:latin typeface="Arial" panose="020B0604020202020204" pitchFamily="34" charset="0"/>
                <a:cs typeface="Arial" panose="020B0604020202020204" pitchFamily="34" charset="0"/>
              </a:rPr>
              <a:t>?</a:t>
            </a:r>
          </a:p>
        </p:txBody>
      </p:sp>
      <p:sp>
        <p:nvSpPr>
          <p:cNvPr id="11" name="TextBox 10">
            <a:extLst>
              <a:ext uri="{FF2B5EF4-FFF2-40B4-BE49-F238E27FC236}">
                <a16:creationId xmlns:a16="http://schemas.microsoft.com/office/drawing/2014/main" id="{21F01E78-150F-4A68-BD86-4831B70AE03A}"/>
              </a:ext>
            </a:extLst>
          </p:cNvPr>
          <p:cNvSpPr txBox="1"/>
          <p:nvPr/>
        </p:nvSpPr>
        <p:spPr>
          <a:xfrm>
            <a:off x="770466" y="228599"/>
            <a:ext cx="9711446"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s-CO" sz="2400" b="1" dirty="0">
                <a:solidFill>
                  <a:schemeClr val="bg1"/>
                </a:solidFill>
                <a:latin typeface="Arial" panose="020B0604020202020204" pitchFamily="34" charset="0"/>
                <a:cs typeface="Arial" panose="020B0604020202020204" pitchFamily="34" charset="0"/>
              </a:rPr>
              <a:t>Herramienta: El mapa del modelo de negocio disruptivo</a:t>
            </a:r>
          </a:p>
        </p:txBody>
      </p:sp>
    </p:spTree>
    <p:extLst>
      <p:ext uri="{BB962C8B-B14F-4D97-AF65-F5344CB8AC3E}">
        <p14:creationId xmlns:p14="http://schemas.microsoft.com/office/powerpoint/2010/main" val="22617783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44DDC1F5-35C3-4995-B8C6-A43F8B39A6C4}"/>
              </a:ext>
            </a:extLst>
          </p:cNvPr>
          <p:cNvSpPr/>
          <p:nvPr/>
        </p:nvSpPr>
        <p:spPr>
          <a:xfrm>
            <a:off x="770466" y="1056268"/>
            <a:ext cx="3242734" cy="567267"/>
          </a:xfrm>
          <a:prstGeom prst="roundRect">
            <a:avLst/>
          </a:prstGeom>
          <a:solidFill>
            <a:schemeClr val="bg1"/>
          </a:solidFill>
          <a:ln w="19050">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b="1" dirty="0">
                <a:solidFill>
                  <a:sysClr val="windowText" lastClr="000000"/>
                </a:solidFill>
                <a:latin typeface="Arial" panose="020B0604020202020204" pitchFamily="34" charset="0"/>
                <a:cs typeface="Arial" panose="020B0604020202020204" pitchFamily="34" charset="0"/>
              </a:rPr>
              <a:t>Cliente</a:t>
            </a:r>
          </a:p>
        </p:txBody>
      </p:sp>
      <p:sp>
        <p:nvSpPr>
          <p:cNvPr id="23" name="TextBox 22">
            <a:extLst>
              <a:ext uri="{FF2B5EF4-FFF2-40B4-BE49-F238E27FC236}">
                <a16:creationId xmlns:a16="http://schemas.microsoft.com/office/drawing/2014/main" id="{4A21A164-1096-4862-8F66-942515D91A41}"/>
              </a:ext>
            </a:extLst>
          </p:cNvPr>
          <p:cNvSpPr txBox="1"/>
          <p:nvPr/>
        </p:nvSpPr>
        <p:spPr>
          <a:xfrm>
            <a:off x="770466" y="1882339"/>
            <a:ext cx="10138834" cy="1754326"/>
          </a:xfrm>
          <a:prstGeom prst="rect">
            <a:avLst/>
          </a:prstGeom>
          <a:noFill/>
        </p:spPr>
        <p:txBody>
          <a:bodyPr wrap="square">
            <a:spAutoFit/>
          </a:bodyPr>
          <a:lstStyle/>
          <a:p>
            <a:r>
              <a:rPr lang="es-CO" dirty="0">
                <a:solidFill>
                  <a:schemeClr val="bg1"/>
                </a:solidFill>
                <a:latin typeface="Arial" panose="020B0604020202020204" pitchFamily="34" charset="0"/>
                <a:cs typeface="Arial" panose="020B0604020202020204" pitchFamily="34" charset="0"/>
              </a:rPr>
              <a:t>Este es el cliente al que sirve el desafiante. En algunos casos, puede ser un cliente directo del incumbente, pero también podría ser otro grupo clave (por ejemplo, un desafiante podría disrumpir al incumbente robándole todos sus empleados). </a:t>
            </a:r>
          </a:p>
          <a:p>
            <a:endParaRPr lang="es-CO" dirty="0">
              <a:solidFill>
                <a:schemeClr val="bg1"/>
              </a:solidFill>
              <a:latin typeface="Arial" panose="020B0604020202020204" pitchFamily="34" charset="0"/>
              <a:cs typeface="Arial" panose="020B0604020202020204" pitchFamily="34" charset="0"/>
            </a:endParaRPr>
          </a:p>
          <a:p>
            <a:r>
              <a:rPr lang="es-CO" dirty="0">
                <a:solidFill>
                  <a:schemeClr val="bg1"/>
                </a:solidFill>
                <a:latin typeface="Arial" panose="020B0604020202020204" pitchFamily="34" charset="0"/>
                <a:cs typeface="Arial" panose="020B0604020202020204" pitchFamily="34" charset="0"/>
              </a:rPr>
              <a:t>Una vez más, es posible que un desafiante intente usurpar la relación del incumbente con más de un tipo de cliente. Elije </a:t>
            </a:r>
            <a:r>
              <a:rPr lang="es-CO" u="sng" dirty="0">
                <a:solidFill>
                  <a:schemeClr val="bg1"/>
                </a:solidFill>
                <a:latin typeface="Arial" panose="020B0604020202020204" pitchFamily="34" charset="0"/>
                <a:cs typeface="Arial" panose="020B0604020202020204" pitchFamily="34" charset="0"/>
              </a:rPr>
              <a:t>UNO</a:t>
            </a:r>
            <a:r>
              <a:rPr lang="es-CO" dirty="0">
                <a:solidFill>
                  <a:schemeClr val="bg1"/>
                </a:solidFill>
                <a:latin typeface="Arial" panose="020B0604020202020204" pitchFamily="34" charset="0"/>
                <a:cs typeface="Arial" panose="020B0604020202020204" pitchFamily="34" charset="0"/>
              </a:rPr>
              <a:t> para este ejercicio.</a:t>
            </a:r>
          </a:p>
        </p:txBody>
      </p:sp>
      <p:sp>
        <p:nvSpPr>
          <p:cNvPr id="5" name="TextBox 4">
            <a:extLst>
              <a:ext uri="{FF2B5EF4-FFF2-40B4-BE49-F238E27FC236}">
                <a16:creationId xmlns:a16="http://schemas.microsoft.com/office/drawing/2014/main" id="{52EDB350-E98A-4F5C-B23D-E53452AEEAC5}"/>
              </a:ext>
            </a:extLst>
          </p:cNvPr>
          <p:cNvSpPr txBox="1"/>
          <p:nvPr/>
        </p:nvSpPr>
        <p:spPr>
          <a:xfrm>
            <a:off x="4223084" y="1157322"/>
            <a:ext cx="6097604" cy="369332"/>
          </a:xfrm>
          <a:prstGeom prst="rect">
            <a:avLst/>
          </a:prstGeom>
          <a:noFill/>
        </p:spPr>
        <p:txBody>
          <a:bodyPr wrap="square">
            <a:spAutoFit/>
          </a:bodyPr>
          <a:lstStyle/>
          <a:p>
            <a:r>
              <a:rPr lang="es-CO" b="1" dirty="0">
                <a:solidFill>
                  <a:schemeClr val="bg1"/>
                </a:solidFill>
                <a:latin typeface="Arial" panose="020B0604020202020204" pitchFamily="34" charset="0"/>
                <a:cs typeface="Arial" panose="020B0604020202020204" pitchFamily="34" charset="0"/>
              </a:rPr>
              <a:t>¿Quién es el cliente objetivo?</a:t>
            </a:r>
          </a:p>
        </p:txBody>
      </p:sp>
      <p:sp>
        <p:nvSpPr>
          <p:cNvPr id="6" name="TextBox 5">
            <a:extLst>
              <a:ext uri="{FF2B5EF4-FFF2-40B4-BE49-F238E27FC236}">
                <a16:creationId xmlns:a16="http://schemas.microsoft.com/office/drawing/2014/main" id="{48464B01-F541-4A3E-8EBA-5C737BDCC201}"/>
              </a:ext>
            </a:extLst>
          </p:cNvPr>
          <p:cNvSpPr txBox="1"/>
          <p:nvPr/>
        </p:nvSpPr>
        <p:spPr>
          <a:xfrm>
            <a:off x="770466" y="228599"/>
            <a:ext cx="9711446"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s-CO" sz="2400" b="1" dirty="0">
                <a:solidFill>
                  <a:schemeClr val="bg1"/>
                </a:solidFill>
                <a:latin typeface="Arial" panose="020B0604020202020204" pitchFamily="34" charset="0"/>
                <a:cs typeface="Arial" panose="020B0604020202020204" pitchFamily="34" charset="0"/>
              </a:rPr>
              <a:t>Herramienta: El mapa del modelo de negocio disruptivo</a:t>
            </a:r>
          </a:p>
        </p:txBody>
      </p:sp>
    </p:spTree>
    <p:extLst>
      <p:ext uri="{BB962C8B-B14F-4D97-AF65-F5344CB8AC3E}">
        <p14:creationId xmlns:p14="http://schemas.microsoft.com/office/powerpoint/2010/main" val="32057330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44DDC1F5-35C3-4995-B8C6-A43F8B39A6C4}"/>
              </a:ext>
            </a:extLst>
          </p:cNvPr>
          <p:cNvSpPr/>
          <p:nvPr/>
        </p:nvSpPr>
        <p:spPr>
          <a:xfrm>
            <a:off x="770466" y="1056268"/>
            <a:ext cx="3242734" cy="567267"/>
          </a:xfrm>
          <a:prstGeom prst="roundRect">
            <a:avLst/>
          </a:prstGeom>
          <a:solidFill>
            <a:schemeClr val="accent5">
              <a:lumMod val="20000"/>
              <a:lumOff val="80000"/>
            </a:schemeClr>
          </a:solidFill>
          <a:ln w="19050">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b="1" dirty="0">
                <a:solidFill>
                  <a:sysClr val="windowText" lastClr="000000"/>
                </a:solidFill>
                <a:latin typeface="Arial" panose="020B0604020202020204" pitchFamily="34" charset="0"/>
                <a:cs typeface="Arial" panose="020B0604020202020204" pitchFamily="34" charset="0"/>
              </a:rPr>
              <a:t>Propuesta de valor</a:t>
            </a:r>
          </a:p>
        </p:txBody>
      </p:sp>
      <p:sp>
        <p:nvSpPr>
          <p:cNvPr id="23" name="TextBox 22">
            <a:extLst>
              <a:ext uri="{FF2B5EF4-FFF2-40B4-BE49-F238E27FC236}">
                <a16:creationId xmlns:a16="http://schemas.microsoft.com/office/drawing/2014/main" id="{4A21A164-1096-4862-8F66-942515D91A41}"/>
              </a:ext>
            </a:extLst>
          </p:cNvPr>
          <p:cNvSpPr txBox="1"/>
          <p:nvPr/>
        </p:nvSpPr>
        <p:spPr>
          <a:xfrm>
            <a:off x="770465" y="1882339"/>
            <a:ext cx="10981267" cy="1754326"/>
          </a:xfrm>
          <a:prstGeom prst="rect">
            <a:avLst/>
          </a:prstGeom>
          <a:noFill/>
        </p:spPr>
        <p:txBody>
          <a:bodyPr wrap="square">
            <a:spAutoFit/>
          </a:bodyPr>
          <a:lstStyle/>
          <a:p>
            <a:pPr marL="285750" indent="-285750">
              <a:buFont typeface="Arial" panose="020B0604020202020204" pitchFamily="34" charset="0"/>
              <a:buChar char="•"/>
            </a:pPr>
            <a:r>
              <a:rPr lang="es-CO" dirty="0">
                <a:solidFill>
                  <a:schemeClr val="bg1"/>
                </a:solidFill>
                <a:latin typeface="Arial" panose="020B0604020202020204" pitchFamily="34" charset="0"/>
                <a:cs typeface="Arial" panose="020B0604020202020204" pitchFamily="34" charset="0"/>
              </a:rPr>
              <a:t>Es muy importante responder a esta pregunta desde el punto de vista del cliente: ¿Qué beneficios puede obtener?</a:t>
            </a:r>
          </a:p>
          <a:p>
            <a:pPr marL="285750" indent="-285750">
              <a:buFont typeface="Arial" panose="020B0604020202020204" pitchFamily="34" charset="0"/>
              <a:buChar char="•"/>
            </a:pPr>
            <a:r>
              <a:rPr lang="es-CO" dirty="0">
                <a:solidFill>
                  <a:schemeClr val="bg1"/>
                </a:solidFill>
                <a:latin typeface="Arial" panose="020B0604020202020204" pitchFamily="34" charset="0"/>
                <a:cs typeface="Arial" panose="020B0604020202020204" pitchFamily="34" charset="0"/>
              </a:rPr>
              <a:t>Describe el producto o servicio que ofrece el desafiante, centrándote en el beneficio para el cliente: ¿Qué valor puede obtener de la oferta del desafiante?</a:t>
            </a:r>
          </a:p>
          <a:p>
            <a:pPr marL="285750" indent="-285750">
              <a:buFont typeface="Arial" panose="020B0604020202020204" pitchFamily="34" charset="0"/>
              <a:buChar char="•"/>
            </a:pPr>
            <a:r>
              <a:rPr lang="es-CO" dirty="0">
                <a:solidFill>
                  <a:schemeClr val="bg1"/>
                </a:solidFill>
                <a:latin typeface="Arial" panose="020B0604020202020204" pitchFamily="34" charset="0"/>
                <a:cs typeface="Arial" panose="020B0604020202020204" pitchFamily="34" charset="0"/>
              </a:rPr>
              <a:t>Puedes consultar la lista de componentes diferenciales de propuestas de valor mencionada en clase: precio, oferta </a:t>
            </a:r>
            <a:r>
              <a:rPr lang="es-CO" dirty="0" err="1">
                <a:solidFill>
                  <a:schemeClr val="bg1"/>
                </a:solidFill>
                <a:latin typeface="Arial" panose="020B0604020202020204" pitchFamily="34" charset="0"/>
                <a:cs typeface="Arial" panose="020B0604020202020204" pitchFamily="34" charset="0"/>
              </a:rPr>
              <a:t>fremium</a:t>
            </a:r>
            <a:r>
              <a:rPr lang="es-CO" dirty="0">
                <a:solidFill>
                  <a:schemeClr val="bg1"/>
                </a:solidFill>
                <a:latin typeface="Arial" panose="020B0604020202020204" pitchFamily="34" charset="0"/>
                <a:cs typeface="Arial" panose="020B0604020202020204" pitchFamily="34" charset="0"/>
              </a:rPr>
              <a:t>, agrupación, desagregación.</a:t>
            </a:r>
            <a:endParaRPr lang="es-CO" i="1" dirty="0">
              <a:solidFill>
                <a:schemeClr val="bg1"/>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6377A3A6-EDF2-4F6A-958E-3BD5EB0C660F}"/>
              </a:ext>
            </a:extLst>
          </p:cNvPr>
          <p:cNvSpPr txBox="1"/>
          <p:nvPr/>
        </p:nvSpPr>
        <p:spPr>
          <a:xfrm>
            <a:off x="4223084" y="1155235"/>
            <a:ext cx="7528649" cy="369332"/>
          </a:xfrm>
          <a:prstGeom prst="rect">
            <a:avLst/>
          </a:prstGeom>
          <a:noFill/>
        </p:spPr>
        <p:txBody>
          <a:bodyPr wrap="square">
            <a:spAutoFit/>
          </a:bodyPr>
          <a:lstStyle/>
          <a:p>
            <a:r>
              <a:rPr lang="es-CO" b="1" dirty="0">
                <a:solidFill>
                  <a:schemeClr val="bg1"/>
                </a:solidFill>
                <a:latin typeface="Arial" panose="020B0604020202020204" pitchFamily="34" charset="0"/>
                <a:cs typeface="Arial" panose="020B0604020202020204" pitchFamily="34" charset="0"/>
              </a:rPr>
              <a:t>¿Cuál es el valor que ofrece el desafiante al cliente objetivo?</a:t>
            </a:r>
          </a:p>
        </p:txBody>
      </p:sp>
      <p:sp>
        <p:nvSpPr>
          <p:cNvPr id="6" name="Rectangle: Rounded Corners 5">
            <a:extLst>
              <a:ext uri="{FF2B5EF4-FFF2-40B4-BE49-F238E27FC236}">
                <a16:creationId xmlns:a16="http://schemas.microsoft.com/office/drawing/2014/main" id="{200DD569-3E0C-4813-B51A-F89DCDD36104}"/>
              </a:ext>
            </a:extLst>
          </p:cNvPr>
          <p:cNvSpPr/>
          <p:nvPr/>
        </p:nvSpPr>
        <p:spPr>
          <a:xfrm>
            <a:off x="770466" y="4011140"/>
            <a:ext cx="3242734" cy="567267"/>
          </a:xfrm>
          <a:prstGeom prst="roundRect">
            <a:avLst/>
          </a:prstGeom>
          <a:solidFill>
            <a:schemeClr val="bg2"/>
          </a:solidFill>
          <a:ln w="19050">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b="1" dirty="0">
                <a:solidFill>
                  <a:schemeClr val="bg1"/>
                </a:solidFill>
                <a:latin typeface="Arial" panose="020B0604020202020204" pitchFamily="34" charset="0"/>
                <a:cs typeface="Arial" panose="020B0604020202020204" pitchFamily="34" charset="0"/>
              </a:rPr>
              <a:t>Diferencial de la propuesta de valor</a:t>
            </a:r>
          </a:p>
        </p:txBody>
      </p:sp>
      <p:sp>
        <p:nvSpPr>
          <p:cNvPr id="8" name="TextBox 7">
            <a:extLst>
              <a:ext uri="{FF2B5EF4-FFF2-40B4-BE49-F238E27FC236}">
                <a16:creationId xmlns:a16="http://schemas.microsoft.com/office/drawing/2014/main" id="{20BC1D4B-A69E-4AAB-BD62-C8515C737A43}"/>
              </a:ext>
            </a:extLst>
          </p:cNvPr>
          <p:cNvSpPr txBox="1"/>
          <p:nvPr/>
        </p:nvSpPr>
        <p:spPr>
          <a:xfrm>
            <a:off x="770465" y="4837211"/>
            <a:ext cx="11074401" cy="1477328"/>
          </a:xfrm>
          <a:prstGeom prst="rect">
            <a:avLst/>
          </a:prstGeom>
          <a:noFill/>
        </p:spPr>
        <p:txBody>
          <a:bodyPr wrap="square">
            <a:spAutoFit/>
          </a:bodyPr>
          <a:lstStyle/>
          <a:p>
            <a:pPr marL="285750" indent="-285750">
              <a:buFont typeface="Arial" panose="020B0604020202020204" pitchFamily="34" charset="0"/>
              <a:buChar char="•"/>
            </a:pPr>
            <a:r>
              <a:rPr lang="es-CO" dirty="0">
                <a:solidFill>
                  <a:schemeClr val="bg1"/>
                </a:solidFill>
                <a:latin typeface="Arial" panose="020B0604020202020204" pitchFamily="34" charset="0"/>
                <a:cs typeface="Arial" panose="020B0604020202020204" pitchFamily="34" charset="0"/>
              </a:rPr>
              <a:t>Se trata de identificar los elementos de la propuesta de valor del competidor que son </a:t>
            </a:r>
            <a:r>
              <a:rPr lang="es-CO" b="1" dirty="0">
                <a:solidFill>
                  <a:schemeClr val="bg1"/>
                </a:solidFill>
                <a:latin typeface="Arial" panose="020B0604020202020204" pitchFamily="34" charset="0"/>
                <a:cs typeface="Arial" panose="020B0604020202020204" pitchFamily="34" charset="0"/>
              </a:rPr>
              <a:t>únicos y diferentes.</a:t>
            </a:r>
          </a:p>
          <a:p>
            <a:pPr marL="285750" indent="-285750">
              <a:buFont typeface="Arial" panose="020B0604020202020204" pitchFamily="34" charset="0"/>
              <a:buChar char="•"/>
            </a:pPr>
            <a:r>
              <a:rPr lang="es-CO" dirty="0">
                <a:solidFill>
                  <a:schemeClr val="bg1"/>
                </a:solidFill>
                <a:latin typeface="Arial" panose="020B0604020202020204" pitchFamily="34" charset="0"/>
                <a:cs typeface="Arial" panose="020B0604020202020204" pitchFamily="34" charset="0"/>
              </a:rPr>
              <a:t>El diferencial de la propuesta de valor puede incluir beneficios, pero también déficits, que deben indicarse como tales; por ejemplo, en el caso de los libros electrónicos, como contrincante de los impresos, podría indicarse “más difícil de leer con luz solar directa".</a:t>
            </a:r>
          </a:p>
        </p:txBody>
      </p:sp>
      <p:sp>
        <p:nvSpPr>
          <p:cNvPr id="9" name="TextBox 8">
            <a:extLst>
              <a:ext uri="{FF2B5EF4-FFF2-40B4-BE49-F238E27FC236}">
                <a16:creationId xmlns:a16="http://schemas.microsoft.com/office/drawing/2014/main" id="{8B834F72-EE36-4502-8B1B-CD153BCF7F4D}"/>
              </a:ext>
            </a:extLst>
          </p:cNvPr>
          <p:cNvSpPr txBox="1"/>
          <p:nvPr/>
        </p:nvSpPr>
        <p:spPr>
          <a:xfrm>
            <a:off x="4223084" y="3971607"/>
            <a:ext cx="7528648" cy="646331"/>
          </a:xfrm>
          <a:prstGeom prst="rect">
            <a:avLst/>
          </a:prstGeom>
          <a:noFill/>
        </p:spPr>
        <p:txBody>
          <a:bodyPr wrap="square">
            <a:spAutoFit/>
          </a:bodyPr>
          <a:lstStyle/>
          <a:p>
            <a:r>
              <a:rPr lang="es-CO" b="1" dirty="0">
                <a:solidFill>
                  <a:schemeClr val="bg1"/>
                </a:solidFill>
                <a:latin typeface="Arial" panose="020B0604020202020204" pitchFamily="34" charset="0"/>
                <a:cs typeface="Arial" panose="020B0604020202020204" pitchFamily="34" charset="0"/>
              </a:rPr>
              <a:t>¿En qué se diferencia la propuesta de valor del desafiante de la del incumbente?</a:t>
            </a:r>
          </a:p>
        </p:txBody>
      </p:sp>
      <p:sp>
        <p:nvSpPr>
          <p:cNvPr id="10" name="TextBox 9">
            <a:extLst>
              <a:ext uri="{FF2B5EF4-FFF2-40B4-BE49-F238E27FC236}">
                <a16:creationId xmlns:a16="http://schemas.microsoft.com/office/drawing/2014/main" id="{FFC409C5-9FEC-47BE-93D2-A7828346E66D}"/>
              </a:ext>
            </a:extLst>
          </p:cNvPr>
          <p:cNvSpPr txBox="1"/>
          <p:nvPr/>
        </p:nvSpPr>
        <p:spPr>
          <a:xfrm>
            <a:off x="770466" y="228599"/>
            <a:ext cx="9711446"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s-CO" sz="2400" b="1" dirty="0">
                <a:solidFill>
                  <a:schemeClr val="bg1"/>
                </a:solidFill>
                <a:latin typeface="Arial" panose="020B0604020202020204" pitchFamily="34" charset="0"/>
                <a:cs typeface="Arial" panose="020B0604020202020204" pitchFamily="34" charset="0"/>
              </a:rPr>
              <a:t>Herramienta: El mapa del modelo de negocio disruptivo</a:t>
            </a:r>
          </a:p>
        </p:txBody>
      </p:sp>
    </p:spTree>
    <p:extLst>
      <p:ext uri="{BB962C8B-B14F-4D97-AF65-F5344CB8AC3E}">
        <p14:creationId xmlns:p14="http://schemas.microsoft.com/office/powerpoint/2010/main" val="18492607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44DDC1F5-35C3-4995-B8C6-A43F8B39A6C4}"/>
              </a:ext>
            </a:extLst>
          </p:cNvPr>
          <p:cNvSpPr/>
          <p:nvPr/>
        </p:nvSpPr>
        <p:spPr>
          <a:xfrm>
            <a:off x="770466" y="1056268"/>
            <a:ext cx="3242734" cy="567267"/>
          </a:xfrm>
          <a:prstGeom prst="roundRect">
            <a:avLst/>
          </a:prstGeom>
          <a:solidFill>
            <a:schemeClr val="accent5">
              <a:lumMod val="20000"/>
              <a:lumOff val="80000"/>
            </a:schemeClr>
          </a:solidFill>
          <a:ln w="19050">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b="1" dirty="0">
                <a:solidFill>
                  <a:schemeClr val="tx1"/>
                </a:solidFill>
                <a:latin typeface="Arial" panose="020B0604020202020204" pitchFamily="34" charset="0"/>
                <a:cs typeface="Arial" panose="020B0604020202020204" pitchFamily="34" charset="0"/>
              </a:rPr>
              <a:t>Red de valor</a:t>
            </a:r>
          </a:p>
        </p:txBody>
      </p:sp>
      <p:sp>
        <p:nvSpPr>
          <p:cNvPr id="23" name="TextBox 22">
            <a:extLst>
              <a:ext uri="{FF2B5EF4-FFF2-40B4-BE49-F238E27FC236}">
                <a16:creationId xmlns:a16="http://schemas.microsoft.com/office/drawing/2014/main" id="{4A21A164-1096-4862-8F66-942515D91A41}"/>
              </a:ext>
            </a:extLst>
          </p:cNvPr>
          <p:cNvSpPr txBox="1"/>
          <p:nvPr/>
        </p:nvSpPr>
        <p:spPr>
          <a:xfrm>
            <a:off x="770465" y="1882339"/>
            <a:ext cx="10955868" cy="1754326"/>
          </a:xfrm>
          <a:prstGeom prst="rect">
            <a:avLst/>
          </a:prstGeom>
          <a:noFill/>
        </p:spPr>
        <p:txBody>
          <a:bodyPr wrap="square">
            <a:spAutoFit/>
          </a:bodyPr>
          <a:lstStyle/>
          <a:p>
            <a:pPr marL="285750" indent="-285750">
              <a:buFont typeface="Arial" panose="020B0604020202020204" pitchFamily="34" charset="0"/>
              <a:buChar char="•"/>
            </a:pPr>
            <a:r>
              <a:rPr lang="es-CO" dirty="0">
                <a:solidFill>
                  <a:schemeClr val="bg1"/>
                </a:solidFill>
                <a:latin typeface="Arial" panose="020B0604020202020204" pitchFamily="34" charset="0"/>
                <a:cs typeface="Arial" panose="020B0604020202020204" pitchFamily="34" charset="0"/>
              </a:rPr>
              <a:t>Tu objetivo es identificar todo (</a:t>
            </a:r>
            <a:r>
              <a:rPr lang="es-CO" b="1" dirty="0">
                <a:solidFill>
                  <a:srgbClr val="EA3A55"/>
                </a:solidFill>
                <a:latin typeface="Arial" panose="020B0604020202020204" pitchFamily="34" charset="0"/>
                <a:cs typeface="Arial" panose="020B0604020202020204" pitchFamily="34" charset="0"/>
              </a:rPr>
              <a:t>personas, socios, activos y procesos</a:t>
            </a:r>
            <a:r>
              <a:rPr lang="es-CO" dirty="0">
                <a:solidFill>
                  <a:schemeClr val="bg1"/>
                </a:solidFill>
                <a:latin typeface="Arial" panose="020B0604020202020204" pitchFamily="34" charset="0"/>
                <a:cs typeface="Arial" panose="020B0604020202020204" pitchFamily="34" charset="0"/>
              </a:rPr>
              <a:t>) lo que permita al desafiante ofrecer su propuesta de valor.</a:t>
            </a:r>
          </a:p>
          <a:p>
            <a:pPr marL="285750" indent="-285750">
              <a:buFont typeface="Arial" panose="020B0604020202020204" pitchFamily="34" charset="0"/>
              <a:buChar char="•"/>
            </a:pPr>
            <a:endParaRPr lang="es-CO"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s-CO" dirty="0">
                <a:solidFill>
                  <a:schemeClr val="bg1"/>
                </a:solidFill>
                <a:latin typeface="Arial" panose="020B0604020202020204" pitchFamily="34" charset="0"/>
                <a:cs typeface="Arial" panose="020B0604020202020204" pitchFamily="34" charset="0"/>
              </a:rPr>
              <a:t>Si el desafiante es nuevo, este paso debería ayudar a identificar las preguntas sin respuesta sobre su modelo de negocio y si realmente será capaz de ofrecer la propuesta de valor que promete al mercado.</a:t>
            </a:r>
          </a:p>
        </p:txBody>
      </p:sp>
      <p:sp>
        <p:nvSpPr>
          <p:cNvPr id="5" name="TextBox 4">
            <a:extLst>
              <a:ext uri="{FF2B5EF4-FFF2-40B4-BE49-F238E27FC236}">
                <a16:creationId xmlns:a16="http://schemas.microsoft.com/office/drawing/2014/main" id="{3CF4EB48-CBFC-4AD6-8658-0BDBC7D1C4F1}"/>
              </a:ext>
            </a:extLst>
          </p:cNvPr>
          <p:cNvSpPr txBox="1"/>
          <p:nvPr/>
        </p:nvSpPr>
        <p:spPr>
          <a:xfrm>
            <a:off x="4223083" y="1056268"/>
            <a:ext cx="7503250" cy="646331"/>
          </a:xfrm>
          <a:prstGeom prst="rect">
            <a:avLst/>
          </a:prstGeom>
          <a:noFill/>
        </p:spPr>
        <p:txBody>
          <a:bodyPr wrap="square">
            <a:spAutoFit/>
          </a:bodyPr>
          <a:lstStyle/>
          <a:p>
            <a:r>
              <a:rPr lang="es-CO" b="1" dirty="0">
                <a:solidFill>
                  <a:schemeClr val="bg1"/>
                </a:solidFill>
                <a:latin typeface="Arial" panose="020B0604020202020204" pitchFamily="34" charset="0"/>
                <a:cs typeface="Arial" panose="020B0604020202020204" pitchFamily="34" charset="0"/>
              </a:rPr>
              <a:t>¿Qué permite al desafiante crear, entregar y obtener valor de su oferta al cliente?</a:t>
            </a:r>
          </a:p>
        </p:txBody>
      </p:sp>
      <p:sp>
        <p:nvSpPr>
          <p:cNvPr id="8" name="Rectangle: Rounded Corners 7">
            <a:extLst>
              <a:ext uri="{FF2B5EF4-FFF2-40B4-BE49-F238E27FC236}">
                <a16:creationId xmlns:a16="http://schemas.microsoft.com/office/drawing/2014/main" id="{51532384-EFC9-4D3B-A7B6-F9154484FF4F}"/>
              </a:ext>
            </a:extLst>
          </p:cNvPr>
          <p:cNvSpPr/>
          <p:nvPr/>
        </p:nvSpPr>
        <p:spPr>
          <a:xfrm>
            <a:off x="770466" y="3816405"/>
            <a:ext cx="3242734" cy="567267"/>
          </a:xfrm>
          <a:prstGeom prst="roundRect">
            <a:avLst/>
          </a:prstGeom>
          <a:solidFill>
            <a:schemeClr val="tx1">
              <a:lumMod val="50000"/>
            </a:schemeClr>
          </a:solidFill>
          <a:ln w="19050">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b="1" dirty="0">
                <a:solidFill>
                  <a:schemeClr val="bg1"/>
                </a:solidFill>
                <a:latin typeface="Arial" panose="020B0604020202020204" pitchFamily="34" charset="0"/>
                <a:cs typeface="Arial" panose="020B0604020202020204" pitchFamily="34" charset="0"/>
              </a:rPr>
              <a:t>Diferencial de la red de valor</a:t>
            </a:r>
          </a:p>
        </p:txBody>
      </p:sp>
      <p:sp>
        <p:nvSpPr>
          <p:cNvPr id="9" name="TextBox 8">
            <a:extLst>
              <a:ext uri="{FF2B5EF4-FFF2-40B4-BE49-F238E27FC236}">
                <a16:creationId xmlns:a16="http://schemas.microsoft.com/office/drawing/2014/main" id="{DE8CA70E-3052-49A4-BF7E-66A772B0A2E4}"/>
              </a:ext>
            </a:extLst>
          </p:cNvPr>
          <p:cNvSpPr txBox="1"/>
          <p:nvPr/>
        </p:nvSpPr>
        <p:spPr>
          <a:xfrm>
            <a:off x="770466" y="4642476"/>
            <a:ext cx="10955866" cy="2031325"/>
          </a:xfrm>
          <a:prstGeom prst="rect">
            <a:avLst/>
          </a:prstGeom>
          <a:noFill/>
        </p:spPr>
        <p:txBody>
          <a:bodyPr wrap="square">
            <a:spAutoFit/>
          </a:bodyPr>
          <a:lstStyle/>
          <a:p>
            <a:pPr marL="285750" indent="-285750">
              <a:buFont typeface="Arial" panose="020B0604020202020204" pitchFamily="34" charset="0"/>
              <a:buChar char="•"/>
            </a:pPr>
            <a:r>
              <a:rPr lang="es-CO" dirty="0">
                <a:solidFill>
                  <a:schemeClr val="bg1"/>
                </a:solidFill>
                <a:latin typeface="Arial" panose="020B0604020202020204" pitchFamily="34" charset="0"/>
                <a:cs typeface="Arial" panose="020B0604020202020204" pitchFamily="34" charset="0"/>
              </a:rPr>
              <a:t>Identifica los elementos de la red de valor del desafiante que son </a:t>
            </a:r>
            <a:r>
              <a:rPr lang="es-CO" b="1" dirty="0">
                <a:solidFill>
                  <a:srgbClr val="EA3A55"/>
                </a:solidFill>
                <a:latin typeface="Arial" panose="020B0604020202020204" pitchFamily="34" charset="0"/>
                <a:cs typeface="Arial" panose="020B0604020202020204" pitchFamily="34" charset="0"/>
              </a:rPr>
              <a:t>únicos y diferentes.</a:t>
            </a:r>
          </a:p>
          <a:p>
            <a:pPr marL="285750" indent="-285750">
              <a:buFont typeface="Arial" panose="020B0604020202020204" pitchFamily="34" charset="0"/>
              <a:buChar char="•"/>
            </a:pPr>
            <a:endParaRPr lang="es-CO"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s-CO" dirty="0">
                <a:solidFill>
                  <a:schemeClr val="bg1"/>
                </a:solidFill>
                <a:latin typeface="Arial" panose="020B0604020202020204" pitchFamily="34" charset="0"/>
                <a:cs typeface="Arial" panose="020B0604020202020204" pitchFamily="34" charset="0"/>
              </a:rPr>
              <a:t>¿La oferta del desafiante se basa en un </a:t>
            </a:r>
            <a:r>
              <a:rPr lang="es-CO" b="1" dirty="0">
                <a:solidFill>
                  <a:srgbClr val="EA3A55"/>
                </a:solidFill>
                <a:latin typeface="Arial" panose="020B0604020202020204" pitchFamily="34" charset="0"/>
                <a:cs typeface="Arial" panose="020B0604020202020204" pitchFamily="34" charset="0"/>
              </a:rPr>
              <a:t>activo de datos único</a:t>
            </a:r>
            <a:r>
              <a:rPr lang="es-CO" dirty="0">
                <a:solidFill>
                  <a:schemeClr val="bg1"/>
                </a:solidFill>
                <a:latin typeface="Arial" panose="020B0604020202020204" pitchFamily="34" charset="0"/>
                <a:cs typeface="Arial" panose="020B0604020202020204" pitchFamily="34" charset="0"/>
              </a:rPr>
              <a:t> o en </a:t>
            </a:r>
            <a:r>
              <a:rPr lang="es-CO" b="1" dirty="0">
                <a:solidFill>
                  <a:srgbClr val="EA3A55"/>
                </a:solidFill>
                <a:latin typeface="Arial" panose="020B0604020202020204" pitchFamily="34" charset="0"/>
                <a:cs typeface="Arial" panose="020B0604020202020204" pitchFamily="34" charset="0"/>
              </a:rPr>
              <a:t>habilidades específicas</a:t>
            </a:r>
            <a:r>
              <a:rPr lang="es-CO" dirty="0">
                <a:solidFill>
                  <a:schemeClr val="bg1"/>
                </a:solidFill>
                <a:latin typeface="Arial" panose="020B0604020202020204" pitchFamily="34" charset="0"/>
                <a:cs typeface="Arial" panose="020B0604020202020204" pitchFamily="34" charset="0"/>
              </a:rPr>
              <a:t>? ¿Llega al mercado a través de </a:t>
            </a:r>
            <a:r>
              <a:rPr lang="es-CO" b="1" dirty="0">
                <a:solidFill>
                  <a:srgbClr val="EA3A55"/>
                </a:solidFill>
                <a:latin typeface="Arial" panose="020B0604020202020204" pitchFamily="34" charset="0"/>
                <a:cs typeface="Arial" panose="020B0604020202020204" pitchFamily="34" charset="0"/>
              </a:rPr>
              <a:t>canales diferentes </a:t>
            </a:r>
            <a:r>
              <a:rPr lang="es-CO" dirty="0">
                <a:solidFill>
                  <a:schemeClr val="bg1"/>
                </a:solidFill>
                <a:latin typeface="Arial" panose="020B0604020202020204" pitchFamily="34" charset="0"/>
                <a:cs typeface="Arial" panose="020B0604020202020204" pitchFamily="34" charset="0"/>
              </a:rPr>
              <a:t>a los que utiliza el incumbente? ¿Tiene el desafiante un </a:t>
            </a:r>
            <a:r>
              <a:rPr lang="es-CO" b="1" dirty="0">
                <a:solidFill>
                  <a:srgbClr val="EA3A55"/>
                </a:solidFill>
                <a:latin typeface="Arial" panose="020B0604020202020204" pitchFamily="34" charset="0"/>
                <a:cs typeface="Arial" panose="020B0604020202020204" pitchFamily="34" charset="0"/>
              </a:rPr>
              <a:t>modelo de precios</a:t>
            </a:r>
            <a:r>
              <a:rPr lang="es-CO" dirty="0">
                <a:solidFill>
                  <a:schemeClr val="bg1"/>
                </a:solidFill>
                <a:latin typeface="Arial" panose="020B0604020202020204" pitchFamily="34" charset="0"/>
                <a:cs typeface="Arial" panose="020B0604020202020204" pitchFamily="34" charset="0"/>
              </a:rPr>
              <a:t> diferente o una </a:t>
            </a:r>
            <a:r>
              <a:rPr lang="es-CO" b="1" dirty="0">
                <a:solidFill>
                  <a:srgbClr val="EA3A55"/>
                </a:solidFill>
                <a:latin typeface="Arial" panose="020B0604020202020204" pitchFamily="34" charset="0"/>
                <a:cs typeface="Arial" panose="020B0604020202020204" pitchFamily="34" charset="0"/>
              </a:rPr>
              <a:t>estructura de costos </a:t>
            </a:r>
            <a:r>
              <a:rPr lang="es-CO" dirty="0">
                <a:solidFill>
                  <a:schemeClr val="bg1"/>
                </a:solidFill>
                <a:latin typeface="Arial" panose="020B0604020202020204" pitchFamily="34" charset="0"/>
                <a:cs typeface="Arial" panose="020B0604020202020204" pitchFamily="34" charset="0"/>
              </a:rPr>
              <a:t>distinta (por ejemplo, menos gastos generales de espacio o personal)? ¿El desafiante se lanza al mercado centrándose en un </a:t>
            </a:r>
            <a:r>
              <a:rPr lang="es-CO" b="1" dirty="0">
                <a:solidFill>
                  <a:srgbClr val="EA3A55"/>
                </a:solidFill>
                <a:latin typeface="Arial" panose="020B0604020202020204" pitchFamily="34" charset="0"/>
                <a:cs typeface="Arial" panose="020B0604020202020204" pitchFamily="34" charset="0"/>
              </a:rPr>
              <a:t>segmento de mercado</a:t>
            </a:r>
            <a:r>
              <a:rPr lang="es-CO" dirty="0">
                <a:solidFill>
                  <a:schemeClr val="bg1"/>
                </a:solidFill>
                <a:latin typeface="Arial" panose="020B0604020202020204" pitchFamily="34" charset="0"/>
                <a:cs typeface="Arial" panose="020B0604020202020204" pitchFamily="34" charset="0"/>
              </a:rPr>
              <a:t> diferente?</a:t>
            </a:r>
          </a:p>
        </p:txBody>
      </p:sp>
      <p:sp>
        <p:nvSpPr>
          <p:cNvPr id="10" name="TextBox 9">
            <a:extLst>
              <a:ext uri="{FF2B5EF4-FFF2-40B4-BE49-F238E27FC236}">
                <a16:creationId xmlns:a16="http://schemas.microsoft.com/office/drawing/2014/main" id="{C50455B5-E31D-4E00-95E7-CB533DA235CD}"/>
              </a:ext>
            </a:extLst>
          </p:cNvPr>
          <p:cNvSpPr txBox="1"/>
          <p:nvPr/>
        </p:nvSpPr>
        <p:spPr>
          <a:xfrm>
            <a:off x="4223083" y="3816405"/>
            <a:ext cx="7503249" cy="646331"/>
          </a:xfrm>
          <a:prstGeom prst="rect">
            <a:avLst/>
          </a:prstGeom>
          <a:noFill/>
        </p:spPr>
        <p:txBody>
          <a:bodyPr wrap="square">
            <a:spAutoFit/>
          </a:bodyPr>
          <a:lstStyle/>
          <a:p>
            <a:r>
              <a:rPr lang="es-CO" b="1" dirty="0">
                <a:solidFill>
                  <a:schemeClr val="bg1"/>
                </a:solidFill>
                <a:latin typeface="Arial" panose="020B0604020202020204" pitchFamily="34" charset="0"/>
                <a:cs typeface="Arial" panose="020B0604020202020204" pitchFamily="34" charset="0"/>
              </a:rPr>
              <a:t>¿En qué se diferencia la red de valor del desafiante de la del incumbente?</a:t>
            </a:r>
          </a:p>
        </p:txBody>
      </p:sp>
      <p:sp>
        <p:nvSpPr>
          <p:cNvPr id="11" name="TextBox 10">
            <a:extLst>
              <a:ext uri="{FF2B5EF4-FFF2-40B4-BE49-F238E27FC236}">
                <a16:creationId xmlns:a16="http://schemas.microsoft.com/office/drawing/2014/main" id="{4247732B-37BC-4130-A137-C454C1B6FAB4}"/>
              </a:ext>
            </a:extLst>
          </p:cNvPr>
          <p:cNvSpPr txBox="1"/>
          <p:nvPr/>
        </p:nvSpPr>
        <p:spPr>
          <a:xfrm>
            <a:off x="770466" y="228599"/>
            <a:ext cx="9711446"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s-CO" sz="2400" b="1" dirty="0">
                <a:solidFill>
                  <a:schemeClr val="bg1"/>
                </a:solidFill>
                <a:latin typeface="Arial" panose="020B0604020202020204" pitchFamily="34" charset="0"/>
                <a:cs typeface="Arial" panose="020B0604020202020204" pitchFamily="34" charset="0"/>
              </a:rPr>
              <a:t>Herramienta: El mapa del modelo de negocio disruptivo</a:t>
            </a:r>
          </a:p>
        </p:txBody>
      </p:sp>
    </p:spTree>
    <p:extLst>
      <p:ext uri="{BB962C8B-B14F-4D97-AF65-F5344CB8AC3E}">
        <p14:creationId xmlns:p14="http://schemas.microsoft.com/office/powerpoint/2010/main" val="35373026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BB4A8FC1-4439-4521-8D84-4F48FB0948F8}"/>
              </a:ext>
            </a:extLst>
          </p:cNvPr>
          <p:cNvSpPr/>
          <p:nvPr/>
        </p:nvSpPr>
        <p:spPr>
          <a:xfrm>
            <a:off x="770466" y="5571067"/>
            <a:ext cx="10888134" cy="994052"/>
          </a:xfrm>
          <a:custGeom>
            <a:avLst/>
            <a:gdLst>
              <a:gd name="connsiteX0" fmla="*/ 0 w 10888134"/>
              <a:gd name="connsiteY0" fmla="*/ 165679 h 994052"/>
              <a:gd name="connsiteX1" fmla="*/ 165679 w 10888134"/>
              <a:gd name="connsiteY1" fmla="*/ 0 h 994052"/>
              <a:gd name="connsiteX2" fmla="*/ 963302 w 10888134"/>
              <a:gd name="connsiteY2" fmla="*/ 0 h 994052"/>
              <a:gd name="connsiteX3" fmla="*/ 1655357 w 10888134"/>
              <a:gd name="connsiteY3" fmla="*/ 0 h 994052"/>
              <a:gd name="connsiteX4" fmla="*/ 2241845 w 10888134"/>
              <a:gd name="connsiteY4" fmla="*/ 0 h 994052"/>
              <a:gd name="connsiteX5" fmla="*/ 3039468 w 10888134"/>
              <a:gd name="connsiteY5" fmla="*/ 0 h 994052"/>
              <a:gd name="connsiteX6" fmla="*/ 3414820 w 10888134"/>
              <a:gd name="connsiteY6" fmla="*/ 0 h 994052"/>
              <a:gd name="connsiteX7" fmla="*/ 4212443 w 10888134"/>
              <a:gd name="connsiteY7" fmla="*/ 0 h 994052"/>
              <a:gd name="connsiteX8" fmla="*/ 4798931 w 10888134"/>
              <a:gd name="connsiteY8" fmla="*/ 0 h 994052"/>
              <a:gd name="connsiteX9" fmla="*/ 5174283 w 10888134"/>
              <a:gd name="connsiteY9" fmla="*/ 0 h 994052"/>
              <a:gd name="connsiteX10" fmla="*/ 5655203 w 10888134"/>
              <a:gd name="connsiteY10" fmla="*/ 0 h 994052"/>
              <a:gd name="connsiteX11" fmla="*/ 6136122 w 10888134"/>
              <a:gd name="connsiteY11" fmla="*/ 0 h 994052"/>
              <a:gd name="connsiteX12" fmla="*/ 6617042 w 10888134"/>
              <a:gd name="connsiteY12" fmla="*/ 0 h 994052"/>
              <a:gd name="connsiteX13" fmla="*/ 7203530 w 10888134"/>
              <a:gd name="connsiteY13" fmla="*/ 0 h 994052"/>
              <a:gd name="connsiteX14" fmla="*/ 7895585 w 10888134"/>
              <a:gd name="connsiteY14" fmla="*/ 0 h 994052"/>
              <a:gd name="connsiteX15" fmla="*/ 8587640 w 10888134"/>
              <a:gd name="connsiteY15" fmla="*/ 0 h 994052"/>
              <a:gd name="connsiteX16" fmla="*/ 9385263 w 10888134"/>
              <a:gd name="connsiteY16" fmla="*/ 0 h 994052"/>
              <a:gd name="connsiteX17" fmla="*/ 9971751 w 10888134"/>
              <a:gd name="connsiteY17" fmla="*/ 0 h 994052"/>
              <a:gd name="connsiteX18" fmla="*/ 10722455 w 10888134"/>
              <a:gd name="connsiteY18" fmla="*/ 0 h 994052"/>
              <a:gd name="connsiteX19" fmla="*/ 10888134 w 10888134"/>
              <a:gd name="connsiteY19" fmla="*/ 165679 h 994052"/>
              <a:gd name="connsiteX20" fmla="*/ 10888134 w 10888134"/>
              <a:gd name="connsiteY20" fmla="*/ 490399 h 994052"/>
              <a:gd name="connsiteX21" fmla="*/ 10888134 w 10888134"/>
              <a:gd name="connsiteY21" fmla="*/ 828373 h 994052"/>
              <a:gd name="connsiteX22" fmla="*/ 10722455 w 10888134"/>
              <a:gd name="connsiteY22" fmla="*/ 994052 h 994052"/>
              <a:gd name="connsiteX23" fmla="*/ 10135967 w 10888134"/>
              <a:gd name="connsiteY23" fmla="*/ 994052 h 994052"/>
              <a:gd name="connsiteX24" fmla="*/ 9549480 w 10888134"/>
              <a:gd name="connsiteY24" fmla="*/ 994052 h 994052"/>
              <a:gd name="connsiteX25" fmla="*/ 8751857 w 10888134"/>
              <a:gd name="connsiteY25" fmla="*/ 994052 h 994052"/>
              <a:gd name="connsiteX26" fmla="*/ 8482073 w 10888134"/>
              <a:gd name="connsiteY26" fmla="*/ 994052 h 994052"/>
              <a:gd name="connsiteX27" fmla="*/ 7790017 w 10888134"/>
              <a:gd name="connsiteY27" fmla="*/ 994052 h 994052"/>
              <a:gd name="connsiteX28" fmla="*/ 7414665 w 10888134"/>
              <a:gd name="connsiteY28" fmla="*/ 994052 h 994052"/>
              <a:gd name="connsiteX29" fmla="*/ 6933745 w 10888134"/>
              <a:gd name="connsiteY29" fmla="*/ 994052 h 994052"/>
              <a:gd name="connsiteX30" fmla="*/ 6663961 w 10888134"/>
              <a:gd name="connsiteY30" fmla="*/ 994052 h 994052"/>
              <a:gd name="connsiteX31" fmla="*/ 5866338 w 10888134"/>
              <a:gd name="connsiteY31" fmla="*/ 994052 h 994052"/>
              <a:gd name="connsiteX32" fmla="*/ 5174283 w 10888134"/>
              <a:gd name="connsiteY32" fmla="*/ 994052 h 994052"/>
              <a:gd name="connsiteX33" fmla="*/ 4376660 w 10888134"/>
              <a:gd name="connsiteY33" fmla="*/ 994052 h 994052"/>
              <a:gd name="connsiteX34" fmla="*/ 3684604 w 10888134"/>
              <a:gd name="connsiteY34" fmla="*/ 994052 h 994052"/>
              <a:gd name="connsiteX35" fmla="*/ 3414820 w 10888134"/>
              <a:gd name="connsiteY35" fmla="*/ 994052 h 994052"/>
              <a:gd name="connsiteX36" fmla="*/ 3039468 w 10888134"/>
              <a:gd name="connsiteY36" fmla="*/ 994052 h 994052"/>
              <a:gd name="connsiteX37" fmla="*/ 2452980 w 10888134"/>
              <a:gd name="connsiteY37" fmla="*/ 994052 h 994052"/>
              <a:gd name="connsiteX38" fmla="*/ 1866493 w 10888134"/>
              <a:gd name="connsiteY38" fmla="*/ 994052 h 994052"/>
              <a:gd name="connsiteX39" fmla="*/ 1385573 w 10888134"/>
              <a:gd name="connsiteY39" fmla="*/ 994052 h 994052"/>
              <a:gd name="connsiteX40" fmla="*/ 799086 w 10888134"/>
              <a:gd name="connsiteY40" fmla="*/ 994052 h 994052"/>
              <a:gd name="connsiteX41" fmla="*/ 165679 w 10888134"/>
              <a:gd name="connsiteY41" fmla="*/ 994052 h 994052"/>
              <a:gd name="connsiteX42" fmla="*/ 0 w 10888134"/>
              <a:gd name="connsiteY42" fmla="*/ 828373 h 994052"/>
              <a:gd name="connsiteX43" fmla="*/ 0 w 10888134"/>
              <a:gd name="connsiteY43" fmla="*/ 497026 h 994052"/>
              <a:gd name="connsiteX44" fmla="*/ 0 w 10888134"/>
              <a:gd name="connsiteY44" fmla="*/ 165679 h 994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0888134" h="994052" fill="none" extrusionOk="0">
                <a:moveTo>
                  <a:pt x="0" y="165679"/>
                </a:moveTo>
                <a:cubicBezTo>
                  <a:pt x="765" y="79651"/>
                  <a:pt x="82660" y="9020"/>
                  <a:pt x="165679" y="0"/>
                </a:cubicBezTo>
                <a:cubicBezTo>
                  <a:pt x="392417" y="-46195"/>
                  <a:pt x="756406" y="53393"/>
                  <a:pt x="963302" y="0"/>
                </a:cubicBezTo>
                <a:cubicBezTo>
                  <a:pt x="1170198" y="-53393"/>
                  <a:pt x="1311138" y="18408"/>
                  <a:pt x="1655357" y="0"/>
                </a:cubicBezTo>
                <a:cubicBezTo>
                  <a:pt x="1999577" y="-18408"/>
                  <a:pt x="2108508" y="34120"/>
                  <a:pt x="2241845" y="0"/>
                </a:cubicBezTo>
                <a:cubicBezTo>
                  <a:pt x="2375182" y="-34120"/>
                  <a:pt x="2769024" y="18737"/>
                  <a:pt x="3039468" y="0"/>
                </a:cubicBezTo>
                <a:cubicBezTo>
                  <a:pt x="3309912" y="-18737"/>
                  <a:pt x="3281949" y="11235"/>
                  <a:pt x="3414820" y="0"/>
                </a:cubicBezTo>
                <a:cubicBezTo>
                  <a:pt x="3547691" y="-11235"/>
                  <a:pt x="3838567" y="29099"/>
                  <a:pt x="4212443" y="0"/>
                </a:cubicBezTo>
                <a:cubicBezTo>
                  <a:pt x="4586319" y="-29099"/>
                  <a:pt x="4580267" y="6773"/>
                  <a:pt x="4798931" y="0"/>
                </a:cubicBezTo>
                <a:cubicBezTo>
                  <a:pt x="5017595" y="-6773"/>
                  <a:pt x="5051551" y="18460"/>
                  <a:pt x="5174283" y="0"/>
                </a:cubicBezTo>
                <a:cubicBezTo>
                  <a:pt x="5297015" y="-18460"/>
                  <a:pt x="5548781" y="30462"/>
                  <a:pt x="5655203" y="0"/>
                </a:cubicBezTo>
                <a:cubicBezTo>
                  <a:pt x="5761625" y="-30462"/>
                  <a:pt x="6019171" y="50648"/>
                  <a:pt x="6136122" y="0"/>
                </a:cubicBezTo>
                <a:cubicBezTo>
                  <a:pt x="6253073" y="-50648"/>
                  <a:pt x="6485375" y="49199"/>
                  <a:pt x="6617042" y="0"/>
                </a:cubicBezTo>
                <a:cubicBezTo>
                  <a:pt x="6748709" y="-49199"/>
                  <a:pt x="7053322" y="1320"/>
                  <a:pt x="7203530" y="0"/>
                </a:cubicBezTo>
                <a:cubicBezTo>
                  <a:pt x="7353738" y="-1320"/>
                  <a:pt x="7656021" y="15107"/>
                  <a:pt x="7895585" y="0"/>
                </a:cubicBezTo>
                <a:cubicBezTo>
                  <a:pt x="8135150" y="-15107"/>
                  <a:pt x="8375847" y="73371"/>
                  <a:pt x="8587640" y="0"/>
                </a:cubicBezTo>
                <a:cubicBezTo>
                  <a:pt x="8799434" y="-73371"/>
                  <a:pt x="9021062" y="42067"/>
                  <a:pt x="9385263" y="0"/>
                </a:cubicBezTo>
                <a:cubicBezTo>
                  <a:pt x="9749464" y="-42067"/>
                  <a:pt x="9841157" y="11843"/>
                  <a:pt x="9971751" y="0"/>
                </a:cubicBezTo>
                <a:cubicBezTo>
                  <a:pt x="10102345" y="-11843"/>
                  <a:pt x="10504244" y="46460"/>
                  <a:pt x="10722455" y="0"/>
                </a:cubicBezTo>
                <a:cubicBezTo>
                  <a:pt x="10809493" y="13105"/>
                  <a:pt x="10874413" y="87159"/>
                  <a:pt x="10888134" y="165679"/>
                </a:cubicBezTo>
                <a:cubicBezTo>
                  <a:pt x="10907911" y="311487"/>
                  <a:pt x="10855033" y="375161"/>
                  <a:pt x="10888134" y="490399"/>
                </a:cubicBezTo>
                <a:cubicBezTo>
                  <a:pt x="10921235" y="605637"/>
                  <a:pt x="10872620" y="686539"/>
                  <a:pt x="10888134" y="828373"/>
                </a:cubicBezTo>
                <a:cubicBezTo>
                  <a:pt x="10881053" y="927417"/>
                  <a:pt x="10824143" y="998274"/>
                  <a:pt x="10722455" y="994052"/>
                </a:cubicBezTo>
                <a:cubicBezTo>
                  <a:pt x="10596350" y="1035413"/>
                  <a:pt x="10321912" y="985201"/>
                  <a:pt x="10135967" y="994052"/>
                </a:cubicBezTo>
                <a:cubicBezTo>
                  <a:pt x="9950022" y="1002903"/>
                  <a:pt x="9672780" y="967898"/>
                  <a:pt x="9549480" y="994052"/>
                </a:cubicBezTo>
                <a:cubicBezTo>
                  <a:pt x="9426180" y="1020206"/>
                  <a:pt x="9125653" y="935350"/>
                  <a:pt x="8751857" y="994052"/>
                </a:cubicBezTo>
                <a:cubicBezTo>
                  <a:pt x="8378061" y="1052754"/>
                  <a:pt x="8588676" y="969218"/>
                  <a:pt x="8482073" y="994052"/>
                </a:cubicBezTo>
                <a:cubicBezTo>
                  <a:pt x="8375470" y="1018886"/>
                  <a:pt x="8006041" y="917753"/>
                  <a:pt x="7790017" y="994052"/>
                </a:cubicBezTo>
                <a:cubicBezTo>
                  <a:pt x="7573993" y="1070351"/>
                  <a:pt x="7567417" y="966491"/>
                  <a:pt x="7414665" y="994052"/>
                </a:cubicBezTo>
                <a:cubicBezTo>
                  <a:pt x="7261913" y="1021613"/>
                  <a:pt x="7124648" y="962255"/>
                  <a:pt x="6933745" y="994052"/>
                </a:cubicBezTo>
                <a:cubicBezTo>
                  <a:pt x="6742842" y="1025849"/>
                  <a:pt x="6791828" y="981146"/>
                  <a:pt x="6663961" y="994052"/>
                </a:cubicBezTo>
                <a:cubicBezTo>
                  <a:pt x="6536094" y="1006958"/>
                  <a:pt x="6185868" y="964878"/>
                  <a:pt x="5866338" y="994052"/>
                </a:cubicBezTo>
                <a:cubicBezTo>
                  <a:pt x="5546808" y="1023226"/>
                  <a:pt x="5348939" y="944835"/>
                  <a:pt x="5174283" y="994052"/>
                </a:cubicBezTo>
                <a:cubicBezTo>
                  <a:pt x="4999627" y="1043269"/>
                  <a:pt x="4742955" y="977780"/>
                  <a:pt x="4376660" y="994052"/>
                </a:cubicBezTo>
                <a:cubicBezTo>
                  <a:pt x="4010365" y="1010324"/>
                  <a:pt x="3913531" y="940167"/>
                  <a:pt x="3684604" y="994052"/>
                </a:cubicBezTo>
                <a:cubicBezTo>
                  <a:pt x="3455677" y="1047937"/>
                  <a:pt x="3545018" y="972747"/>
                  <a:pt x="3414820" y="994052"/>
                </a:cubicBezTo>
                <a:cubicBezTo>
                  <a:pt x="3284622" y="1015357"/>
                  <a:pt x="3152034" y="980643"/>
                  <a:pt x="3039468" y="994052"/>
                </a:cubicBezTo>
                <a:cubicBezTo>
                  <a:pt x="2926902" y="1007461"/>
                  <a:pt x="2685986" y="950364"/>
                  <a:pt x="2452980" y="994052"/>
                </a:cubicBezTo>
                <a:cubicBezTo>
                  <a:pt x="2219974" y="1037740"/>
                  <a:pt x="1999059" y="958331"/>
                  <a:pt x="1866493" y="994052"/>
                </a:cubicBezTo>
                <a:cubicBezTo>
                  <a:pt x="1733927" y="1029773"/>
                  <a:pt x="1558247" y="981278"/>
                  <a:pt x="1385573" y="994052"/>
                </a:cubicBezTo>
                <a:cubicBezTo>
                  <a:pt x="1212899" y="1006826"/>
                  <a:pt x="1035130" y="979759"/>
                  <a:pt x="799086" y="994052"/>
                </a:cubicBezTo>
                <a:cubicBezTo>
                  <a:pt x="563042" y="1008345"/>
                  <a:pt x="334511" y="958465"/>
                  <a:pt x="165679" y="994052"/>
                </a:cubicBezTo>
                <a:cubicBezTo>
                  <a:pt x="93019" y="1006496"/>
                  <a:pt x="4258" y="923103"/>
                  <a:pt x="0" y="828373"/>
                </a:cubicBezTo>
                <a:cubicBezTo>
                  <a:pt x="-7137" y="758383"/>
                  <a:pt x="18063" y="596231"/>
                  <a:pt x="0" y="497026"/>
                </a:cubicBezTo>
                <a:cubicBezTo>
                  <a:pt x="-18063" y="397821"/>
                  <a:pt x="18653" y="236948"/>
                  <a:pt x="0" y="165679"/>
                </a:cubicBezTo>
                <a:close/>
              </a:path>
              <a:path w="10888134" h="994052" stroke="0" extrusionOk="0">
                <a:moveTo>
                  <a:pt x="0" y="165679"/>
                </a:moveTo>
                <a:cubicBezTo>
                  <a:pt x="-234" y="91547"/>
                  <a:pt x="69228" y="11020"/>
                  <a:pt x="165679" y="0"/>
                </a:cubicBezTo>
                <a:cubicBezTo>
                  <a:pt x="336153" y="-5794"/>
                  <a:pt x="460997" y="63378"/>
                  <a:pt x="752167" y="0"/>
                </a:cubicBezTo>
                <a:cubicBezTo>
                  <a:pt x="1043337" y="-63378"/>
                  <a:pt x="1209792" y="43765"/>
                  <a:pt x="1338654" y="0"/>
                </a:cubicBezTo>
                <a:cubicBezTo>
                  <a:pt x="1467516" y="-43765"/>
                  <a:pt x="1701989" y="15911"/>
                  <a:pt x="1819574" y="0"/>
                </a:cubicBezTo>
                <a:cubicBezTo>
                  <a:pt x="1937159" y="-15911"/>
                  <a:pt x="2040656" y="43111"/>
                  <a:pt x="2194926" y="0"/>
                </a:cubicBezTo>
                <a:cubicBezTo>
                  <a:pt x="2349196" y="-43111"/>
                  <a:pt x="2551298" y="76066"/>
                  <a:pt x="2886981" y="0"/>
                </a:cubicBezTo>
                <a:cubicBezTo>
                  <a:pt x="3222665" y="-76066"/>
                  <a:pt x="3052077" y="14932"/>
                  <a:pt x="3156766" y="0"/>
                </a:cubicBezTo>
                <a:cubicBezTo>
                  <a:pt x="3261455" y="-14932"/>
                  <a:pt x="3552616" y="51200"/>
                  <a:pt x="3848821" y="0"/>
                </a:cubicBezTo>
                <a:cubicBezTo>
                  <a:pt x="4145026" y="-51200"/>
                  <a:pt x="4210764" y="42178"/>
                  <a:pt x="4540876" y="0"/>
                </a:cubicBezTo>
                <a:cubicBezTo>
                  <a:pt x="4870988" y="-42178"/>
                  <a:pt x="4738579" y="10680"/>
                  <a:pt x="4810660" y="0"/>
                </a:cubicBezTo>
                <a:cubicBezTo>
                  <a:pt x="4882741" y="-10680"/>
                  <a:pt x="5250694" y="46356"/>
                  <a:pt x="5502716" y="0"/>
                </a:cubicBezTo>
                <a:cubicBezTo>
                  <a:pt x="5754738" y="-46356"/>
                  <a:pt x="5835980" y="46922"/>
                  <a:pt x="6089203" y="0"/>
                </a:cubicBezTo>
                <a:cubicBezTo>
                  <a:pt x="6342426" y="-46922"/>
                  <a:pt x="6578049" y="13342"/>
                  <a:pt x="6781259" y="0"/>
                </a:cubicBezTo>
                <a:cubicBezTo>
                  <a:pt x="6984469" y="-13342"/>
                  <a:pt x="7193669" y="56429"/>
                  <a:pt x="7473314" y="0"/>
                </a:cubicBezTo>
                <a:cubicBezTo>
                  <a:pt x="7752960" y="-56429"/>
                  <a:pt x="7731591" y="32531"/>
                  <a:pt x="7848666" y="0"/>
                </a:cubicBezTo>
                <a:cubicBezTo>
                  <a:pt x="7965741" y="-32531"/>
                  <a:pt x="8202247" y="67691"/>
                  <a:pt x="8540721" y="0"/>
                </a:cubicBezTo>
                <a:cubicBezTo>
                  <a:pt x="8879196" y="-67691"/>
                  <a:pt x="8829771" y="3696"/>
                  <a:pt x="9021641" y="0"/>
                </a:cubicBezTo>
                <a:cubicBezTo>
                  <a:pt x="9213511" y="-3696"/>
                  <a:pt x="9215694" y="20321"/>
                  <a:pt x="9396993" y="0"/>
                </a:cubicBezTo>
                <a:cubicBezTo>
                  <a:pt x="9578292" y="-20321"/>
                  <a:pt x="9723607" y="45969"/>
                  <a:pt x="9983481" y="0"/>
                </a:cubicBezTo>
                <a:cubicBezTo>
                  <a:pt x="10243355" y="-45969"/>
                  <a:pt x="10475741" y="47901"/>
                  <a:pt x="10722455" y="0"/>
                </a:cubicBezTo>
                <a:cubicBezTo>
                  <a:pt x="10814376" y="5209"/>
                  <a:pt x="10874201" y="68473"/>
                  <a:pt x="10888134" y="165679"/>
                </a:cubicBezTo>
                <a:cubicBezTo>
                  <a:pt x="10902485" y="288225"/>
                  <a:pt x="10880947" y="422080"/>
                  <a:pt x="10888134" y="510280"/>
                </a:cubicBezTo>
                <a:cubicBezTo>
                  <a:pt x="10895321" y="598480"/>
                  <a:pt x="10876075" y="694669"/>
                  <a:pt x="10888134" y="828373"/>
                </a:cubicBezTo>
                <a:cubicBezTo>
                  <a:pt x="10870037" y="922944"/>
                  <a:pt x="10819062" y="973594"/>
                  <a:pt x="10722455" y="994052"/>
                </a:cubicBezTo>
                <a:cubicBezTo>
                  <a:pt x="10378523" y="1052617"/>
                  <a:pt x="10223991" y="928394"/>
                  <a:pt x="10030400" y="994052"/>
                </a:cubicBezTo>
                <a:cubicBezTo>
                  <a:pt x="9836810" y="1059710"/>
                  <a:pt x="9852093" y="969277"/>
                  <a:pt x="9760615" y="994052"/>
                </a:cubicBezTo>
                <a:cubicBezTo>
                  <a:pt x="9669138" y="1018827"/>
                  <a:pt x="9302428" y="920036"/>
                  <a:pt x="9068560" y="994052"/>
                </a:cubicBezTo>
                <a:cubicBezTo>
                  <a:pt x="8834692" y="1068068"/>
                  <a:pt x="8716476" y="954169"/>
                  <a:pt x="8482073" y="994052"/>
                </a:cubicBezTo>
                <a:cubicBezTo>
                  <a:pt x="8247670" y="1033935"/>
                  <a:pt x="8123373" y="926840"/>
                  <a:pt x="7790017" y="994052"/>
                </a:cubicBezTo>
                <a:cubicBezTo>
                  <a:pt x="7456661" y="1061264"/>
                  <a:pt x="7349537" y="940008"/>
                  <a:pt x="6992394" y="994052"/>
                </a:cubicBezTo>
                <a:cubicBezTo>
                  <a:pt x="6635251" y="1048096"/>
                  <a:pt x="6608749" y="993929"/>
                  <a:pt x="6511474" y="994052"/>
                </a:cubicBezTo>
                <a:cubicBezTo>
                  <a:pt x="6414199" y="994175"/>
                  <a:pt x="6308900" y="961878"/>
                  <a:pt x="6241690" y="994052"/>
                </a:cubicBezTo>
                <a:cubicBezTo>
                  <a:pt x="6174480" y="1026226"/>
                  <a:pt x="6028803" y="991862"/>
                  <a:pt x="5866338" y="994052"/>
                </a:cubicBezTo>
                <a:cubicBezTo>
                  <a:pt x="5703873" y="996242"/>
                  <a:pt x="5467876" y="953092"/>
                  <a:pt x="5279850" y="994052"/>
                </a:cubicBezTo>
                <a:cubicBezTo>
                  <a:pt x="5091824" y="1035012"/>
                  <a:pt x="5014400" y="947817"/>
                  <a:pt x="4798931" y="994052"/>
                </a:cubicBezTo>
                <a:cubicBezTo>
                  <a:pt x="4583462" y="1040287"/>
                  <a:pt x="4228918" y="910316"/>
                  <a:pt x="4001308" y="994052"/>
                </a:cubicBezTo>
                <a:cubicBezTo>
                  <a:pt x="3773698" y="1077788"/>
                  <a:pt x="3753750" y="989505"/>
                  <a:pt x="3625956" y="994052"/>
                </a:cubicBezTo>
                <a:cubicBezTo>
                  <a:pt x="3498162" y="998599"/>
                  <a:pt x="3228476" y="933592"/>
                  <a:pt x="3039468" y="994052"/>
                </a:cubicBezTo>
                <a:cubicBezTo>
                  <a:pt x="2850460" y="1054512"/>
                  <a:pt x="2845569" y="976642"/>
                  <a:pt x="2769684" y="994052"/>
                </a:cubicBezTo>
                <a:cubicBezTo>
                  <a:pt x="2693799" y="1011462"/>
                  <a:pt x="2203731" y="974766"/>
                  <a:pt x="1972061" y="994052"/>
                </a:cubicBezTo>
                <a:cubicBezTo>
                  <a:pt x="1740391" y="1013338"/>
                  <a:pt x="1618707" y="932287"/>
                  <a:pt x="1280005" y="994052"/>
                </a:cubicBezTo>
                <a:cubicBezTo>
                  <a:pt x="941303" y="1055817"/>
                  <a:pt x="955793" y="939800"/>
                  <a:pt x="799086" y="994052"/>
                </a:cubicBezTo>
                <a:cubicBezTo>
                  <a:pt x="642379" y="1048304"/>
                  <a:pt x="302459" y="940200"/>
                  <a:pt x="165679" y="994052"/>
                </a:cubicBezTo>
                <a:cubicBezTo>
                  <a:pt x="77858" y="998705"/>
                  <a:pt x="3053" y="915796"/>
                  <a:pt x="0" y="828373"/>
                </a:cubicBezTo>
                <a:cubicBezTo>
                  <a:pt x="-34890" y="758101"/>
                  <a:pt x="20636" y="559382"/>
                  <a:pt x="0" y="483772"/>
                </a:cubicBezTo>
                <a:cubicBezTo>
                  <a:pt x="-20636" y="408162"/>
                  <a:pt x="16362" y="293356"/>
                  <a:pt x="0" y="165679"/>
                </a:cubicBezTo>
                <a:close/>
              </a:path>
            </a:pathLst>
          </a:custGeom>
          <a:solidFill>
            <a:schemeClr val="accent3">
              <a:lumMod val="20000"/>
              <a:lumOff val="80000"/>
              <a:alpha val="50196"/>
            </a:schemeClr>
          </a:solidFill>
          <a:ln w="9525">
            <a:solidFill>
              <a:schemeClr val="bg1"/>
            </a:solidFill>
            <a:extLst>
              <a:ext uri="{C807C97D-BFC1-408E-A445-0C87EB9F89A2}">
                <ask:lineSketchStyleProps xmlns:ask="http://schemas.microsoft.com/office/drawing/2018/sketchyshapes" sd="3243554230">
                  <a:prstGeom prst="round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dirty="0">
              <a:solidFill>
                <a:schemeClr val="tx1"/>
              </a:solidFill>
            </a:endParaRPr>
          </a:p>
        </p:txBody>
      </p:sp>
      <p:sp>
        <p:nvSpPr>
          <p:cNvPr id="7" name="Rectangle: Rounded Corners 6">
            <a:extLst>
              <a:ext uri="{FF2B5EF4-FFF2-40B4-BE49-F238E27FC236}">
                <a16:creationId xmlns:a16="http://schemas.microsoft.com/office/drawing/2014/main" id="{44DDC1F5-35C3-4995-B8C6-A43F8B39A6C4}"/>
              </a:ext>
            </a:extLst>
          </p:cNvPr>
          <p:cNvSpPr/>
          <p:nvPr/>
        </p:nvSpPr>
        <p:spPr>
          <a:xfrm>
            <a:off x="770466" y="1056268"/>
            <a:ext cx="3242734" cy="567267"/>
          </a:xfrm>
          <a:prstGeom prst="roundRect">
            <a:avLst/>
          </a:prstGeom>
          <a:solidFill>
            <a:srgbClr val="EA3A55"/>
          </a:solidFill>
          <a:ln w="9525">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b="1" dirty="0">
                <a:solidFill>
                  <a:schemeClr val="bg1"/>
                </a:solidFill>
                <a:latin typeface="Arial" panose="020B0604020202020204" pitchFamily="34" charset="0"/>
                <a:cs typeface="Arial" panose="020B0604020202020204" pitchFamily="34" charset="0"/>
              </a:rPr>
              <a:t>Prueba de dos partes</a:t>
            </a:r>
          </a:p>
        </p:txBody>
      </p:sp>
      <p:sp>
        <p:nvSpPr>
          <p:cNvPr id="5" name="TextBox 4">
            <a:extLst>
              <a:ext uri="{FF2B5EF4-FFF2-40B4-BE49-F238E27FC236}">
                <a16:creationId xmlns:a16="http://schemas.microsoft.com/office/drawing/2014/main" id="{8B21CBB8-4EFD-44A7-9D35-78327531FE9D}"/>
              </a:ext>
            </a:extLst>
          </p:cNvPr>
          <p:cNvSpPr txBox="1"/>
          <p:nvPr/>
        </p:nvSpPr>
        <p:spPr>
          <a:xfrm>
            <a:off x="4231549" y="1155235"/>
            <a:ext cx="7723384" cy="369332"/>
          </a:xfrm>
          <a:prstGeom prst="rect">
            <a:avLst/>
          </a:prstGeom>
          <a:noFill/>
        </p:spPr>
        <p:txBody>
          <a:bodyPr wrap="square">
            <a:spAutoFit/>
          </a:bodyPr>
          <a:lstStyle/>
          <a:p>
            <a:r>
              <a:rPr lang="es-CO" b="1" dirty="0">
                <a:solidFill>
                  <a:schemeClr val="bg1"/>
                </a:solidFill>
                <a:latin typeface="Arial" panose="020B0604020202020204" pitchFamily="34" charset="0"/>
                <a:cs typeface="Arial" panose="020B0604020202020204" pitchFamily="34" charset="0"/>
              </a:rPr>
              <a:t>¿Supone el desafiante una amenaza disruptiva para el incumbente?</a:t>
            </a:r>
          </a:p>
        </p:txBody>
      </p:sp>
      <p:sp>
        <p:nvSpPr>
          <p:cNvPr id="23" name="TextBox 22">
            <a:extLst>
              <a:ext uri="{FF2B5EF4-FFF2-40B4-BE49-F238E27FC236}">
                <a16:creationId xmlns:a16="http://schemas.microsoft.com/office/drawing/2014/main" id="{4A21A164-1096-4862-8F66-942515D91A41}"/>
              </a:ext>
            </a:extLst>
          </p:cNvPr>
          <p:cNvSpPr txBox="1"/>
          <p:nvPr/>
        </p:nvSpPr>
        <p:spPr>
          <a:xfrm>
            <a:off x="770466" y="1763805"/>
            <a:ext cx="10888134" cy="3693319"/>
          </a:xfrm>
          <a:prstGeom prst="rect">
            <a:avLst/>
          </a:prstGeom>
          <a:noFill/>
        </p:spPr>
        <p:txBody>
          <a:bodyPr wrap="square">
            <a:spAutoFit/>
          </a:bodyPr>
          <a:lstStyle/>
          <a:p>
            <a:r>
              <a:rPr lang="es-CO" i="1" u="sng" dirty="0">
                <a:solidFill>
                  <a:schemeClr val="bg1"/>
                </a:solidFill>
                <a:latin typeface="Arial" panose="020B0604020202020204" pitchFamily="34" charset="0"/>
                <a:cs typeface="Arial" panose="020B0604020202020204" pitchFamily="34" charset="0"/>
              </a:rPr>
              <a:t>Parte 1: ¿La propuesta de valor del desafiante desplaza drásticamente la propuesta de valor proporcionada por el incumbente? </a:t>
            </a:r>
          </a:p>
          <a:p>
            <a:endParaRPr lang="en-US" dirty="0">
              <a:solidFill>
                <a:schemeClr val="bg1"/>
              </a:solidFill>
              <a:latin typeface="Arial" panose="020B0604020202020204" pitchFamily="34" charset="0"/>
              <a:cs typeface="Arial" panose="020B0604020202020204" pitchFamily="34" charset="0"/>
            </a:endParaRPr>
          </a:p>
          <a:p>
            <a:r>
              <a:rPr lang="en-US" b="1" dirty="0">
                <a:solidFill>
                  <a:schemeClr val="accent4">
                    <a:lumMod val="20000"/>
                    <a:lumOff val="80000"/>
                  </a:schemeClr>
                </a:solidFill>
                <a:latin typeface="Arial" panose="020B0604020202020204" pitchFamily="34" charset="0"/>
                <a:cs typeface="Arial" panose="020B0604020202020204" pitchFamily="34" charset="0"/>
              </a:rPr>
              <a:t>Si la </a:t>
            </a:r>
            <a:r>
              <a:rPr lang="en-US" b="1" dirty="0" err="1">
                <a:solidFill>
                  <a:schemeClr val="accent4">
                    <a:lumMod val="20000"/>
                    <a:lumOff val="80000"/>
                  </a:schemeClr>
                </a:solidFill>
                <a:latin typeface="Arial" panose="020B0604020202020204" pitchFamily="34" charset="0"/>
                <a:cs typeface="Arial" panose="020B0604020202020204" pitchFamily="34" charset="0"/>
              </a:rPr>
              <a:t>respuesta</a:t>
            </a:r>
            <a:r>
              <a:rPr lang="en-US" b="1" dirty="0">
                <a:solidFill>
                  <a:schemeClr val="accent4">
                    <a:lumMod val="20000"/>
                    <a:lumOff val="80000"/>
                  </a:schemeClr>
                </a:solidFill>
                <a:latin typeface="Arial" panose="020B0604020202020204" pitchFamily="34" charset="0"/>
                <a:cs typeface="Arial" panose="020B0604020202020204" pitchFamily="34" charset="0"/>
              </a:rPr>
              <a:t> es no</a:t>
            </a:r>
            <a:r>
              <a:rPr lang="en-US" dirty="0">
                <a:solidFill>
                  <a:schemeClr val="bg1"/>
                </a:solidFill>
                <a:latin typeface="Arial" panose="020B0604020202020204" pitchFamily="34" charset="0"/>
                <a:cs typeface="Arial" panose="020B0604020202020204" pitchFamily="34" charset="0"/>
              </a:rPr>
              <a:t>, </a:t>
            </a:r>
            <a:r>
              <a:rPr lang="es-CO" dirty="0">
                <a:solidFill>
                  <a:schemeClr val="bg1"/>
                </a:solidFill>
                <a:latin typeface="Arial" panose="020B0604020202020204" pitchFamily="34" charset="0"/>
                <a:cs typeface="Arial" panose="020B0604020202020204" pitchFamily="34" charset="0"/>
              </a:rPr>
              <a:t>el incumbente debe ser capaz de responder igualando, o siendo muy competitivo, el valor que el desafiante ofrece al cliente.</a:t>
            </a:r>
          </a:p>
          <a:p>
            <a:endParaRPr lang="en-US" dirty="0">
              <a:solidFill>
                <a:schemeClr val="bg1"/>
              </a:solidFill>
              <a:latin typeface="Arial" panose="020B0604020202020204" pitchFamily="34" charset="0"/>
              <a:cs typeface="Arial" panose="020B0604020202020204" pitchFamily="34" charset="0"/>
            </a:endParaRPr>
          </a:p>
          <a:p>
            <a:r>
              <a:rPr lang="en-US" dirty="0">
                <a:solidFill>
                  <a:schemeClr val="bg1"/>
                </a:solidFill>
                <a:latin typeface="Arial" panose="020B0604020202020204" pitchFamily="34" charset="0"/>
                <a:cs typeface="Arial" panose="020B0604020202020204" pitchFamily="34" charset="0"/>
              </a:rPr>
              <a:t>Si la </a:t>
            </a:r>
            <a:r>
              <a:rPr lang="en-US" dirty="0" err="1">
                <a:solidFill>
                  <a:schemeClr val="bg1"/>
                </a:solidFill>
                <a:latin typeface="Arial" panose="020B0604020202020204" pitchFamily="34" charset="0"/>
                <a:cs typeface="Arial" panose="020B0604020202020204" pitchFamily="34" charset="0"/>
              </a:rPr>
              <a:t>respuesta</a:t>
            </a:r>
            <a:r>
              <a:rPr lang="en-US" dirty="0">
                <a:solidFill>
                  <a:schemeClr val="bg1"/>
                </a:solidFill>
                <a:latin typeface="Arial" panose="020B0604020202020204" pitchFamily="34" charset="0"/>
                <a:cs typeface="Arial" panose="020B0604020202020204" pitchFamily="34" charset="0"/>
              </a:rPr>
              <a:t> es </a:t>
            </a:r>
            <a:r>
              <a:rPr lang="en-US" dirty="0" err="1">
                <a:solidFill>
                  <a:schemeClr val="bg1"/>
                </a:solidFill>
                <a:latin typeface="Arial" panose="020B0604020202020204" pitchFamily="34" charset="0"/>
                <a:cs typeface="Arial" panose="020B0604020202020204" pitchFamily="34" charset="0"/>
              </a:rPr>
              <a:t>sí</a:t>
            </a:r>
            <a:r>
              <a:rPr lang="en-US" dirty="0">
                <a:solidFill>
                  <a:schemeClr val="bg1"/>
                </a:solidFill>
                <a:latin typeface="Arial" panose="020B0604020202020204" pitchFamily="34" charset="0"/>
                <a:cs typeface="Arial" panose="020B0604020202020204" pitchFamily="34" charset="0"/>
              </a:rPr>
              <a:t>, </a:t>
            </a:r>
            <a:r>
              <a:rPr lang="en-US" dirty="0" err="1">
                <a:solidFill>
                  <a:schemeClr val="bg1"/>
                </a:solidFill>
                <a:latin typeface="Arial" panose="020B0604020202020204" pitchFamily="34" charset="0"/>
                <a:cs typeface="Arial" panose="020B0604020202020204" pitchFamily="34" charset="0"/>
              </a:rPr>
              <a:t>hazte</a:t>
            </a:r>
            <a:r>
              <a:rPr lang="en-US" dirty="0">
                <a:solidFill>
                  <a:schemeClr val="bg1"/>
                </a:solidFill>
                <a:latin typeface="Arial" panose="020B0604020202020204" pitchFamily="34" charset="0"/>
                <a:cs typeface="Arial" panose="020B0604020202020204" pitchFamily="34" charset="0"/>
              </a:rPr>
              <a:t> la </a:t>
            </a:r>
            <a:r>
              <a:rPr lang="en-US" dirty="0" err="1">
                <a:solidFill>
                  <a:schemeClr val="bg1"/>
                </a:solidFill>
                <a:latin typeface="Arial" panose="020B0604020202020204" pitchFamily="34" charset="0"/>
                <a:cs typeface="Arial" panose="020B0604020202020204" pitchFamily="34" charset="0"/>
              </a:rPr>
              <a:t>siguiente</a:t>
            </a:r>
            <a:r>
              <a:rPr lang="en-US" dirty="0">
                <a:solidFill>
                  <a:schemeClr val="bg1"/>
                </a:solidFill>
                <a:latin typeface="Arial" panose="020B0604020202020204" pitchFamily="34" charset="0"/>
                <a:cs typeface="Arial" panose="020B0604020202020204" pitchFamily="34" charset="0"/>
              </a:rPr>
              <a:t> </a:t>
            </a:r>
            <a:r>
              <a:rPr lang="en-US" dirty="0" err="1">
                <a:solidFill>
                  <a:schemeClr val="bg1"/>
                </a:solidFill>
                <a:latin typeface="Arial" panose="020B0604020202020204" pitchFamily="34" charset="0"/>
                <a:cs typeface="Arial" panose="020B0604020202020204" pitchFamily="34" charset="0"/>
              </a:rPr>
              <a:t>pregunta</a:t>
            </a:r>
            <a:r>
              <a:rPr lang="en-US" dirty="0">
                <a:solidFill>
                  <a:schemeClr val="bg1"/>
                </a:solidFill>
                <a:latin typeface="Arial" panose="020B0604020202020204" pitchFamily="34" charset="0"/>
                <a:cs typeface="Arial" panose="020B0604020202020204" pitchFamily="34" charset="0"/>
              </a:rPr>
              <a:t>:</a:t>
            </a:r>
          </a:p>
          <a:p>
            <a:endParaRPr lang="en-US" dirty="0">
              <a:solidFill>
                <a:schemeClr val="bg1"/>
              </a:solidFill>
              <a:latin typeface="Arial" panose="020B0604020202020204" pitchFamily="34" charset="0"/>
              <a:cs typeface="Arial" panose="020B0604020202020204" pitchFamily="34" charset="0"/>
            </a:endParaRPr>
          </a:p>
          <a:p>
            <a:r>
              <a:rPr lang="es-CO" i="1" u="sng" dirty="0">
                <a:solidFill>
                  <a:schemeClr val="bg1"/>
                </a:solidFill>
                <a:latin typeface="Arial" panose="020B0604020202020204" pitchFamily="34" charset="0"/>
                <a:cs typeface="Arial" panose="020B0604020202020204" pitchFamily="34" charset="0"/>
              </a:rPr>
              <a:t>Parte 2: ¿Alguna de las diferencias en las redes de valor crea una barrera que impida al incumbente imitar al desafiante? </a:t>
            </a:r>
          </a:p>
          <a:p>
            <a:endParaRPr lang="en-US" dirty="0">
              <a:solidFill>
                <a:schemeClr val="bg1"/>
              </a:solidFill>
              <a:latin typeface="Arial" panose="020B0604020202020204" pitchFamily="34" charset="0"/>
              <a:cs typeface="Arial" panose="020B0604020202020204" pitchFamily="34" charset="0"/>
            </a:endParaRPr>
          </a:p>
          <a:p>
            <a:r>
              <a:rPr lang="en-US" b="1" dirty="0">
                <a:solidFill>
                  <a:schemeClr val="accent4">
                    <a:lumMod val="20000"/>
                    <a:lumOff val="80000"/>
                  </a:schemeClr>
                </a:solidFill>
                <a:latin typeface="Arial" panose="020B0604020202020204" pitchFamily="34" charset="0"/>
                <a:cs typeface="Arial" panose="020B0604020202020204" pitchFamily="34" charset="0"/>
              </a:rPr>
              <a:t>Si la </a:t>
            </a:r>
            <a:r>
              <a:rPr lang="en-US" b="1" dirty="0" err="1">
                <a:solidFill>
                  <a:schemeClr val="accent4">
                    <a:lumMod val="20000"/>
                    <a:lumOff val="80000"/>
                  </a:schemeClr>
                </a:solidFill>
                <a:latin typeface="Arial" panose="020B0604020202020204" pitchFamily="34" charset="0"/>
                <a:cs typeface="Arial" panose="020B0604020202020204" pitchFamily="34" charset="0"/>
              </a:rPr>
              <a:t>respuesta</a:t>
            </a:r>
            <a:r>
              <a:rPr lang="en-US" b="1" dirty="0">
                <a:solidFill>
                  <a:schemeClr val="accent4">
                    <a:lumMod val="20000"/>
                    <a:lumOff val="80000"/>
                  </a:schemeClr>
                </a:solidFill>
                <a:latin typeface="Arial" panose="020B0604020202020204" pitchFamily="34" charset="0"/>
                <a:cs typeface="Arial" panose="020B0604020202020204" pitchFamily="34" charset="0"/>
              </a:rPr>
              <a:t> es no</a:t>
            </a:r>
            <a:r>
              <a:rPr lang="en-US" dirty="0">
                <a:solidFill>
                  <a:schemeClr val="bg1"/>
                </a:solidFill>
                <a:latin typeface="Arial" panose="020B0604020202020204" pitchFamily="34" charset="0"/>
                <a:cs typeface="Arial" panose="020B0604020202020204" pitchFamily="34" charset="0"/>
              </a:rPr>
              <a:t>, </a:t>
            </a:r>
            <a:r>
              <a:rPr lang="es-CO" dirty="0">
                <a:solidFill>
                  <a:schemeClr val="bg1"/>
                </a:solidFill>
                <a:latin typeface="Arial" panose="020B0604020202020204" pitchFamily="34" charset="0"/>
                <a:cs typeface="Arial" panose="020B0604020202020204" pitchFamily="34" charset="0"/>
              </a:rPr>
              <a:t>el incumbente posiblemente tendrá que sacrificar parte de sus márgenes de beneficio actuales, al igual que lo haría en una guerra de precios con un competidor tradicional. </a:t>
            </a:r>
            <a:endParaRPr lang="en-US" dirty="0">
              <a:solidFill>
                <a:schemeClr val="bg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55828BBF-8FD1-468D-9B6B-4DF4B98A5810}"/>
              </a:ext>
            </a:extLst>
          </p:cNvPr>
          <p:cNvSpPr txBox="1"/>
          <p:nvPr/>
        </p:nvSpPr>
        <p:spPr>
          <a:xfrm>
            <a:off x="846666" y="5621087"/>
            <a:ext cx="10811934" cy="923330"/>
          </a:xfrm>
          <a:prstGeom prst="rect">
            <a:avLst/>
          </a:prstGeom>
          <a:noFill/>
        </p:spPr>
        <p:txBody>
          <a:bodyPr wrap="square">
            <a:spAutoFit/>
          </a:bodyPr>
          <a:lstStyle/>
          <a:p>
            <a:r>
              <a:rPr lang="es-CO" dirty="0">
                <a:solidFill>
                  <a:schemeClr val="bg1"/>
                </a:solidFill>
                <a:latin typeface="Arial" panose="020B0604020202020204" pitchFamily="34" charset="0"/>
                <a:cs typeface="Arial" panose="020B0604020202020204" pitchFamily="34" charset="0"/>
              </a:rPr>
              <a:t>Si la respuesta es sí, el desafiante ha superado las dos pruebas de la disrupción del modelo de negocio. El valor que ofrece al cliente superará drásticamente el valor aportado por el incumbente, y éste se enfrentará a barreras estructurales intrínsecas que le impedirán responder directamente.</a:t>
            </a:r>
          </a:p>
        </p:txBody>
      </p:sp>
      <p:sp>
        <p:nvSpPr>
          <p:cNvPr id="9" name="TextBox 8">
            <a:extLst>
              <a:ext uri="{FF2B5EF4-FFF2-40B4-BE49-F238E27FC236}">
                <a16:creationId xmlns:a16="http://schemas.microsoft.com/office/drawing/2014/main" id="{BB15CE16-AB8E-4DB9-A401-961578E46406}"/>
              </a:ext>
            </a:extLst>
          </p:cNvPr>
          <p:cNvSpPr txBox="1"/>
          <p:nvPr/>
        </p:nvSpPr>
        <p:spPr>
          <a:xfrm>
            <a:off x="770466" y="228599"/>
            <a:ext cx="9711446"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s-CO" sz="2400" b="1" dirty="0">
                <a:solidFill>
                  <a:schemeClr val="bg1"/>
                </a:solidFill>
                <a:latin typeface="Arial" panose="020B0604020202020204" pitchFamily="34" charset="0"/>
                <a:cs typeface="Arial" panose="020B0604020202020204" pitchFamily="34" charset="0"/>
              </a:rPr>
              <a:t>Herramienta: El mapa del modelo de negocio disruptivo</a:t>
            </a:r>
          </a:p>
        </p:txBody>
      </p:sp>
    </p:spTree>
    <p:extLst>
      <p:ext uri="{BB962C8B-B14F-4D97-AF65-F5344CB8AC3E}">
        <p14:creationId xmlns:p14="http://schemas.microsoft.com/office/powerpoint/2010/main" val="38455628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3E24BFF-A0DB-4ECE-96D3-5EAB937B7323}"/>
              </a:ext>
            </a:extLst>
          </p:cNvPr>
          <p:cNvSpPr txBox="1"/>
          <p:nvPr/>
        </p:nvSpPr>
        <p:spPr>
          <a:xfrm>
            <a:off x="283633" y="450488"/>
            <a:ext cx="11624733" cy="1305165"/>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s-CO"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TO INDIVIDUAL </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s-CO"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l mapa del modelo de negocio disruptivo"</a:t>
            </a:r>
          </a:p>
        </p:txBody>
      </p:sp>
      <p:sp>
        <p:nvSpPr>
          <p:cNvPr id="8" name="TextBox 7">
            <a:extLst>
              <a:ext uri="{FF2B5EF4-FFF2-40B4-BE49-F238E27FC236}">
                <a16:creationId xmlns:a16="http://schemas.microsoft.com/office/drawing/2014/main" id="{F3692B0D-82AC-41A6-A5BD-1A4B9AC9B985}"/>
              </a:ext>
            </a:extLst>
          </p:cNvPr>
          <p:cNvSpPr txBox="1"/>
          <p:nvPr/>
        </p:nvSpPr>
        <p:spPr>
          <a:xfrm>
            <a:off x="3698016" y="2408878"/>
            <a:ext cx="7921593" cy="2985433"/>
          </a:xfrm>
          <a:prstGeom prst="rect">
            <a:avLst/>
          </a:prstGeom>
          <a:noFill/>
        </p:spPr>
        <p:txBody>
          <a:bodyPr wrap="square" rtlCol="0">
            <a:spAutoFit/>
          </a:bodyPr>
          <a:lstStyle/>
          <a:p>
            <a:pPr marL="0" marR="0" lvl="0" indent="0" algn="l" defTabSz="914400" rtl="0" eaLnBrk="1" fontAlgn="auto" latinLnBrk="0" hangingPunct="1">
              <a:spcBef>
                <a:spcPts val="0"/>
              </a:spcBef>
              <a:spcAft>
                <a:spcPts val="0"/>
              </a:spcAft>
              <a:buClrTx/>
              <a:buSzTx/>
              <a:buFontTx/>
              <a:buNone/>
              <a:tabLst/>
              <a:defRPr/>
            </a:pPr>
            <a:r>
              <a:rPr kumimoji="0" lang="en-GB" sz="24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Fecha</a:t>
            </a:r>
            <a:r>
              <a:rPr kumimoji="0" lang="en-GB"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e </a:t>
            </a:r>
            <a:r>
              <a:rPr kumimoji="0" lang="en-GB" sz="24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entrega</a:t>
            </a:r>
            <a:r>
              <a:rPr kumimoji="0" lang="en-GB"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2400" b="1" i="0" u="none" strike="noStrike" kern="1200" cap="none" spc="0" normalizeH="0" baseline="0" noProof="0" dirty="0">
                <a:ln>
                  <a:noFill/>
                </a:ln>
                <a:solidFill>
                  <a:prstClr val="white"/>
                </a:solidFill>
                <a:effectLst/>
                <a:highlight>
                  <a:srgbClr val="EA3A55"/>
                </a:highlight>
                <a:uLnTx/>
                <a:uFillTx/>
                <a:latin typeface="Arial" panose="020B0604020202020204" pitchFamily="34" charset="0"/>
                <a:ea typeface="+mn-ea"/>
                <a:cs typeface="Arial" panose="020B0604020202020204" pitchFamily="34" charset="0"/>
              </a:rPr>
              <a:t>Jueves, 26 de mayo</a:t>
            </a:r>
            <a:endParaRPr kumimoji="0" lang="en-GB" sz="2400" b="1" i="0" u="none" strike="noStrike" kern="1200" cap="none" spc="0" normalizeH="0" baseline="30000" noProof="0" dirty="0">
              <a:ln>
                <a:noFill/>
              </a:ln>
              <a:solidFill>
                <a:prstClr val="white"/>
              </a:solidFill>
              <a:effectLst/>
              <a:highlight>
                <a:srgbClr val="EA3A55"/>
              </a:highligh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spcBef>
                <a:spcPts val="0"/>
              </a:spcBef>
              <a:spcAft>
                <a:spcPts val="0"/>
              </a:spcAft>
              <a:buClrTx/>
              <a:buSzTx/>
              <a:buFontTx/>
              <a:buNone/>
              <a:tabLst/>
              <a:defRPr/>
            </a:pPr>
            <a:endParaRPr kumimoji="0" lang="en-GB" sz="2400" b="1" i="0" u="none" strike="noStrike" kern="1200" cap="none" spc="0" normalizeH="0" baseline="0" noProof="0" dirty="0">
              <a:ln>
                <a:noFill/>
              </a:ln>
              <a:solidFill>
                <a:prstClr val="white"/>
              </a:solidFill>
              <a:effectLst/>
              <a:highlight>
                <a:srgbClr val="EA3A55"/>
              </a:highligh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spcBef>
                <a:spcPts val="0"/>
              </a:spcBef>
              <a:spcAft>
                <a:spcPts val="0"/>
              </a:spcAft>
              <a:buClrTx/>
              <a:buSzTx/>
              <a:buFont typeface="Arial" panose="020B0604020202020204" pitchFamily="34" charset="0"/>
              <a:buChar char="•"/>
              <a:tabLst/>
              <a:defRPr/>
            </a:pPr>
            <a:r>
              <a:rPr lang="es-CO" sz="2000" dirty="0">
                <a:solidFill>
                  <a:schemeClr val="bg1"/>
                </a:solidFill>
                <a:latin typeface="Arial" panose="020B0604020202020204" pitchFamily="34" charset="0"/>
                <a:cs typeface="Arial" panose="020B0604020202020204" pitchFamily="34" charset="0"/>
              </a:rPr>
              <a:t>Sube el archivo a la Academia </a:t>
            </a:r>
            <a:r>
              <a:rPr lang="es-CO" sz="2000" dirty="0" err="1">
                <a:solidFill>
                  <a:schemeClr val="bg1"/>
                </a:solidFill>
                <a:latin typeface="Arial" panose="020B0604020202020204" pitchFamily="34" charset="0"/>
                <a:cs typeface="Arial" panose="020B0604020202020204" pitchFamily="34" charset="0"/>
              </a:rPr>
              <a:t>ConnectAmericas</a:t>
            </a:r>
            <a:r>
              <a:rPr lang="es-CO" sz="2000" dirty="0">
                <a:solidFill>
                  <a:schemeClr val="bg1"/>
                </a:solidFill>
                <a:latin typeface="Arial" panose="020B0604020202020204" pitchFamily="34" charset="0"/>
                <a:cs typeface="Arial" panose="020B0604020202020204" pitchFamily="34" charset="0"/>
              </a:rPr>
              <a:t> en la siguiente ruta: </a:t>
            </a:r>
            <a:r>
              <a:rPr lang="es-CO" sz="2000" b="1" u="sng" dirty="0">
                <a:solidFill>
                  <a:srgbClr val="A97FF0"/>
                </a:solidFill>
                <a:latin typeface="Arial" panose="020B0604020202020204" pitchFamily="34" charset="0"/>
                <a:cs typeface="Arial" panose="020B0604020202020204" pitchFamily="34" charset="0"/>
              </a:rPr>
              <a:t>Academia </a:t>
            </a:r>
            <a:r>
              <a:rPr lang="es-CO" sz="2000" b="1" u="sng" dirty="0" err="1">
                <a:solidFill>
                  <a:srgbClr val="A97FF0"/>
                </a:solidFill>
                <a:latin typeface="Arial" panose="020B0604020202020204" pitchFamily="34" charset="0"/>
                <a:cs typeface="Arial" panose="020B0604020202020204" pitchFamily="34" charset="0"/>
              </a:rPr>
              <a:t>ConnectAmericas</a:t>
            </a:r>
            <a:r>
              <a:rPr lang="es-CO" sz="2000" b="1" u="sng" dirty="0">
                <a:solidFill>
                  <a:srgbClr val="A97FF0"/>
                </a:solidFill>
                <a:latin typeface="Arial" panose="020B0604020202020204" pitchFamily="34" charset="0"/>
                <a:cs typeface="Arial" panose="020B0604020202020204" pitchFamily="34" charset="0"/>
              </a:rPr>
              <a:t> - Tema 3 Modelo de Negocio - Clase 4 Herramientas - Reto Individual</a:t>
            </a:r>
          </a:p>
          <a:p>
            <a:pPr marL="342900" marR="0" lvl="0" indent="-342900" algn="l" defTabSz="914400" rtl="0" eaLnBrk="1" fontAlgn="auto" latinLnBrk="0" hangingPunct="1">
              <a:spcBef>
                <a:spcPts val="0"/>
              </a:spcBef>
              <a:spcAft>
                <a:spcPts val="0"/>
              </a:spcAft>
              <a:buClrTx/>
              <a:buSzTx/>
              <a:buFont typeface="Arial" panose="020B0604020202020204" pitchFamily="34" charset="0"/>
              <a:buChar char="•"/>
              <a:tabLst/>
              <a:defRPr/>
            </a:pPr>
            <a:r>
              <a:rPr lang="es-CO" sz="2000" dirty="0">
                <a:solidFill>
                  <a:schemeClr val="bg1"/>
                </a:solidFill>
                <a:latin typeface="Arial" panose="020B0604020202020204" pitchFamily="34" charset="0"/>
                <a:cs typeface="Arial" panose="020B0604020202020204" pitchFamily="34" charset="0"/>
              </a:rPr>
              <a:t>Puedes subir archivos en PDF, </a:t>
            </a:r>
            <a:r>
              <a:rPr lang="es-CO" sz="2000" dirty="0" err="1">
                <a:solidFill>
                  <a:schemeClr val="bg1"/>
                </a:solidFill>
                <a:latin typeface="Arial" panose="020B0604020202020204" pitchFamily="34" charset="0"/>
                <a:cs typeface="Arial" panose="020B0604020202020204" pitchFamily="34" charset="0"/>
              </a:rPr>
              <a:t>Powerpoint</a:t>
            </a:r>
            <a:r>
              <a:rPr lang="es-CO" sz="2000" dirty="0">
                <a:solidFill>
                  <a:schemeClr val="bg1"/>
                </a:solidFill>
                <a:latin typeface="Arial" panose="020B0604020202020204" pitchFamily="34" charset="0"/>
                <a:cs typeface="Arial" panose="020B0604020202020204" pitchFamily="34" charset="0"/>
              </a:rPr>
              <a:t>, Word, Excel, Imágenes (PNG, JPG), entre otros. </a:t>
            </a:r>
          </a:p>
          <a:p>
            <a:pPr marL="342900" marR="0" lvl="0" indent="-342900" algn="l" defTabSz="914400" rtl="0" eaLnBrk="1" fontAlgn="auto" latinLnBrk="0" hangingPunct="1">
              <a:spcBef>
                <a:spcPts val="0"/>
              </a:spcBef>
              <a:spcAft>
                <a:spcPts val="0"/>
              </a:spcAft>
              <a:buClrTx/>
              <a:buSzTx/>
              <a:buFont typeface="Arial" panose="020B0604020202020204" pitchFamily="34" charset="0"/>
              <a:buChar char="•"/>
              <a:tabLst/>
              <a:defRPr/>
            </a:pPr>
            <a:r>
              <a:rPr lang="es-CO" sz="2000" dirty="0">
                <a:solidFill>
                  <a:schemeClr val="bg1"/>
                </a:solidFill>
                <a:latin typeface="Arial" panose="020B0604020202020204" pitchFamily="34" charset="0"/>
                <a:cs typeface="Arial" panose="020B0604020202020204" pitchFamily="34" charset="0"/>
              </a:rPr>
              <a:t>Por favor, asegúrate de que el archivo es legible ya que sólo puede ser subido a la Academia una vez. </a:t>
            </a:r>
          </a:p>
        </p:txBody>
      </p:sp>
      <p:pic>
        <p:nvPicPr>
          <p:cNvPr id="10246" name="Picture 6">
            <a:extLst>
              <a:ext uri="{FF2B5EF4-FFF2-40B4-BE49-F238E27FC236}">
                <a16:creationId xmlns:a16="http://schemas.microsoft.com/office/drawing/2014/main" id="{463BF0BE-64B7-4F44-8757-D00444FAE8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2391" y="2607644"/>
            <a:ext cx="2793087" cy="27930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4136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1zyUykInx.urylw2A3z0w"/>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C4F6F202B989444B8E513D90358DBD5" ma:contentTypeVersion="13" ma:contentTypeDescription="Create a new document." ma:contentTypeScope="" ma:versionID="a5a65e935e1dddc96805a3052a4bc168">
  <xsd:schema xmlns:xsd="http://www.w3.org/2001/XMLSchema" xmlns:xs="http://www.w3.org/2001/XMLSchema" xmlns:p="http://schemas.microsoft.com/office/2006/metadata/properties" xmlns:ns2="f7497011-41e9-4539-8eaa-a91e26322fc1" xmlns:ns3="36ab4214-ab26-4180-94f5-c882e3796056" targetNamespace="http://schemas.microsoft.com/office/2006/metadata/properties" ma:root="true" ma:fieldsID="c2bc6ae20514a2e6100e2a685aa51a78" ns2:_="" ns3:_="">
    <xsd:import namespace="f7497011-41e9-4539-8eaa-a91e26322fc1"/>
    <xsd:import namespace="36ab4214-ab26-4180-94f5-c882e379605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497011-41e9-4539-8eaa-a91e26322f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6ab4214-ab26-4180-94f5-c882e3796056"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36ab4214-ab26-4180-94f5-c882e3796056">
      <UserInfo>
        <DisplayName>Monica Betancourt</DisplayName>
        <AccountId>14</AccountId>
        <AccountType/>
      </UserInfo>
    </SharedWithUsers>
  </documentManagement>
</p:properties>
</file>

<file path=customXml/itemProps1.xml><?xml version="1.0" encoding="utf-8"?>
<ds:datastoreItem xmlns:ds="http://schemas.openxmlformats.org/officeDocument/2006/customXml" ds:itemID="{5FEBD0AE-4C18-4A23-B4DC-6E6B1C1ACE7D}">
  <ds:schemaRefs>
    <ds:schemaRef ds:uri="http://schemas.microsoft.com/sharepoint/v3/contenttype/forms"/>
  </ds:schemaRefs>
</ds:datastoreItem>
</file>

<file path=customXml/itemProps2.xml><?xml version="1.0" encoding="utf-8"?>
<ds:datastoreItem xmlns:ds="http://schemas.openxmlformats.org/officeDocument/2006/customXml" ds:itemID="{0D5DB23B-4C4E-44AE-AFB9-FB2F7C08D6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497011-41e9-4539-8eaa-a91e26322fc1"/>
    <ds:schemaRef ds:uri="36ab4214-ab26-4180-94f5-c882e379605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2397B2F-AA3E-4435-ABBB-477580938829}">
  <ds:schemaRefs>
    <ds:schemaRef ds:uri="http://schemas.microsoft.com/office/2006/documentManagement/types"/>
    <ds:schemaRef ds:uri="http://schemas.microsoft.com/office/infopath/2007/PartnerControls"/>
    <ds:schemaRef ds:uri="f7497011-41e9-4539-8eaa-a91e26322fc1"/>
    <ds:schemaRef ds:uri="http://purl.org/dc/elements/1.1/"/>
    <ds:schemaRef ds:uri="http://schemas.microsoft.com/office/2006/metadata/properties"/>
    <ds:schemaRef ds:uri="http://purl.org/dc/terms/"/>
    <ds:schemaRef ds:uri="http://schemas.openxmlformats.org/package/2006/metadata/core-properties"/>
    <ds:schemaRef ds:uri="36ab4214-ab26-4180-94f5-c882e3796056"/>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2545</TotalTime>
  <Words>1068</Words>
  <Application>Microsoft Office PowerPoint</Application>
  <PresentationFormat>Widescreen</PresentationFormat>
  <Paragraphs>93</Paragraphs>
  <Slides>8</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5" baseType="lpstr">
      <vt:lpstr>Arial</vt:lpstr>
      <vt:lpstr>Calibri</vt:lpstr>
      <vt:lpstr>EYInterstate Light</vt:lpstr>
      <vt:lpstr>Georgia</vt:lpstr>
      <vt:lpstr>Wingdings</vt:lpstr>
      <vt:lpstr>EY dark background</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Katerine Schifino</cp:lastModifiedBy>
  <cp:revision>2</cp:revision>
  <dcterms:created xsi:type="dcterms:W3CDTF">2020-11-16T13:23:13Z</dcterms:created>
  <dcterms:modified xsi:type="dcterms:W3CDTF">2022-05-06T14:40: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84780</vt:lpwstr>
  </property>
  <property fmtid="{D5CDD505-2E9C-101B-9397-08002B2CF9AE}" pid="3" name="NXPowerLiteSettings">
    <vt:lpwstr>C700052003A000</vt:lpwstr>
  </property>
  <property fmtid="{D5CDD505-2E9C-101B-9397-08002B2CF9AE}" pid="4" name="NXPowerLiteVersion">
    <vt:lpwstr>D8.0.4</vt:lpwstr>
  </property>
  <property fmtid="{D5CDD505-2E9C-101B-9397-08002B2CF9AE}" pid="5" name="ContentTypeId">
    <vt:lpwstr>0x0101007C4F6F202B989444B8E513D90358DBD5</vt:lpwstr>
  </property>
</Properties>
</file>